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</p:sldMasterIdLst>
  <p:notesMasterIdLst>
    <p:notesMasterId r:id="rId18"/>
  </p:notesMasterIdLst>
  <p:sldIdLst>
    <p:sldId id="275" r:id="rId3"/>
    <p:sldId id="13488" r:id="rId4"/>
    <p:sldId id="13489" r:id="rId5"/>
    <p:sldId id="13490" r:id="rId6"/>
    <p:sldId id="13491" r:id="rId7"/>
    <p:sldId id="13492" r:id="rId8"/>
    <p:sldId id="13493" r:id="rId9"/>
    <p:sldId id="13494" r:id="rId10"/>
    <p:sldId id="13495" r:id="rId11"/>
    <p:sldId id="13496" r:id="rId12"/>
    <p:sldId id="13497" r:id="rId13"/>
    <p:sldId id="13498" r:id="rId14"/>
    <p:sldId id="13499" r:id="rId15"/>
    <p:sldId id="13500" r:id="rId16"/>
    <p:sldId id="13501" r:id="rId1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50"/>
    <a:srgbClr val="FF0000"/>
    <a:srgbClr val="E88C12"/>
    <a:srgbClr val="F3E7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764" autoAdjust="0"/>
    <p:restoredTop sz="95431" autoAdjust="0"/>
  </p:normalViewPr>
  <p:slideViewPr>
    <p:cSldViewPr snapToGrid="0" showGuides="1">
      <p:cViewPr>
        <p:scale>
          <a:sx n="80" d="100"/>
          <a:sy n="80" d="100"/>
        </p:scale>
        <p:origin x="658" y="48"/>
      </p:cViewPr>
      <p:guideLst>
        <p:guide orient="horz" pos="2183"/>
        <p:guide pos="3863"/>
      </p:guideLst>
    </p:cSldViewPr>
  </p:slideViewPr>
  <p:outlineViewPr>
    <p:cViewPr>
      <p:scale>
        <a:sx n="33" d="100"/>
        <a:sy n="33" d="100"/>
      </p:scale>
      <p:origin x="0" y="-453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70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Haochen\Desktop\&#25321;&#26102;&#25351;&#26631;&#20307;&#31995;\&#24773;&#32490;&#25351;&#26631;&#20998;&#25968;&#27719;&#24635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Haochen\Desktop\&#25321;&#26102;&#25351;&#26631;&#20307;&#31995;\&#23439;&#35266;&#20307;&#31995;&#25171;&#20998;%20-%20&#30011;&#22270;&#29256;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zh-CN" altLang="en-US"/>
              <a:t>情绪择时指标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5.2536285621905751E-2"/>
          <c:y val="4.6069581206413523E-2"/>
          <c:w val="0.9196658770290258"/>
          <c:h val="0.78235274511082609"/>
        </c:manualLayout>
      </c:layout>
      <c:lineChart>
        <c:grouping val="standard"/>
        <c:varyColors val="0"/>
        <c:ser>
          <c:idx val="0"/>
          <c:order val="0"/>
          <c:spPr>
            <a:ln w="19050">
              <a:solidFill>
                <a:srgbClr val="0070C0"/>
              </a:solidFill>
            </a:ln>
          </c:spPr>
          <c:marker>
            <c:symbol val="none"/>
          </c:marker>
          <c:cat>
            <c:strRef>
              <c:f>画图!$A$2:$A$211</c:f>
              <c:strCache>
                <c:ptCount val="21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</c:strCache>
            </c:strRef>
          </c:cat>
          <c:val>
            <c:numRef>
              <c:f>画图!$B$2:$B$211</c:f>
              <c:numCache>
                <c:formatCode>General</c:formatCode>
                <c:ptCount val="210"/>
                <c:pt idx="0">
                  <c:v>-1.3181818181818183</c:v>
                </c:pt>
                <c:pt idx="1">
                  <c:v>-1.1071428571428572</c:v>
                </c:pt>
                <c:pt idx="2">
                  <c:v>0.25649350649350655</c:v>
                </c:pt>
                <c:pt idx="3">
                  <c:v>-5.194805194805209E-2</c:v>
                </c:pt>
                <c:pt idx="4">
                  <c:v>-3.2467532467532123E-3</c:v>
                </c:pt>
                <c:pt idx="5">
                  <c:v>4.5454545454545477E-2</c:v>
                </c:pt>
                <c:pt idx="6">
                  <c:v>0.64610389610389607</c:v>
                </c:pt>
                <c:pt idx="7">
                  <c:v>0.73538961038961037</c:v>
                </c:pt>
                <c:pt idx="8">
                  <c:v>1.3441558441558439</c:v>
                </c:pt>
                <c:pt idx="9">
                  <c:v>0.99512987012987009</c:v>
                </c:pt>
                <c:pt idx="10">
                  <c:v>0.93831168831168821</c:v>
                </c:pt>
                <c:pt idx="11">
                  <c:v>0.23214285714285712</c:v>
                </c:pt>
                <c:pt idx="12">
                  <c:v>0.20779220779220786</c:v>
                </c:pt>
                <c:pt idx="13">
                  <c:v>0.15909090909090898</c:v>
                </c:pt>
                <c:pt idx="14">
                  <c:v>0.12662337662337672</c:v>
                </c:pt>
                <c:pt idx="15">
                  <c:v>9.4155844155844104E-2</c:v>
                </c:pt>
                <c:pt idx="16">
                  <c:v>8.6038961038961068E-2</c:v>
                </c:pt>
                <c:pt idx="17">
                  <c:v>-0.31168831168831168</c:v>
                </c:pt>
                <c:pt idx="18">
                  <c:v>-0.32792207792207789</c:v>
                </c:pt>
                <c:pt idx="19">
                  <c:v>-0.79220779220779225</c:v>
                </c:pt>
                <c:pt idx="20">
                  <c:v>-1.8311688311688312</c:v>
                </c:pt>
                <c:pt idx="21">
                  <c:v>-0.32954545454545464</c:v>
                </c:pt>
                <c:pt idx="22">
                  <c:v>-0.71103896103896091</c:v>
                </c:pt>
                <c:pt idx="23">
                  <c:v>-0.73538961038961037</c:v>
                </c:pt>
                <c:pt idx="24">
                  <c:v>-0.75974025974025972</c:v>
                </c:pt>
                <c:pt idx="25">
                  <c:v>-0.75162337662337653</c:v>
                </c:pt>
                <c:pt idx="26">
                  <c:v>-0.8571428571428571</c:v>
                </c:pt>
                <c:pt idx="27">
                  <c:v>-1.4659090909090906</c:v>
                </c:pt>
                <c:pt idx="28">
                  <c:v>-1.4253246753246755</c:v>
                </c:pt>
                <c:pt idx="29">
                  <c:v>-1.4821428571428574</c:v>
                </c:pt>
                <c:pt idx="30">
                  <c:v>-1.6850649350649352</c:v>
                </c:pt>
                <c:pt idx="31">
                  <c:v>-1.5064935064935063</c:v>
                </c:pt>
                <c:pt idx="32">
                  <c:v>-1.125</c:v>
                </c:pt>
                <c:pt idx="33">
                  <c:v>-1.6525974025974026</c:v>
                </c:pt>
                <c:pt idx="34">
                  <c:v>-1.4253246753246753</c:v>
                </c:pt>
                <c:pt idx="35">
                  <c:v>-1.4902597402597402</c:v>
                </c:pt>
                <c:pt idx="36">
                  <c:v>-1.4253246753246755</c:v>
                </c:pt>
                <c:pt idx="37">
                  <c:v>-1.3603896103896105</c:v>
                </c:pt>
                <c:pt idx="38">
                  <c:v>-1.2954545454545454</c:v>
                </c:pt>
                <c:pt idx="39">
                  <c:v>-1.6850649350649349</c:v>
                </c:pt>
                <c:pt idx="40">
                  <c:v>-1.4821428571428572</c:v>
                </c:pt>
                <c:pt idx="41">
                  <c:v>-1.4253246753246753</c:v>
                </c:pt>
                <c:pt idx="42">
                  <c:v>-1.3685064935064937</c:v>
                </c:pt>
                <c:pt idx="43">
                  <c:v>-1.4090909090909089</c:v>
                </c:pt>
                <c:pt idx="44">
                  <c:v>-1.8798701298701299</c:v>
                </c:pt>
                <c:pt idx="45">
                  <c:v>-1.8149350649350648</c:v>
                </c:pt>
                <c:pt idx="46">
                  <c:v>-2.0990259740259742</c:v>
                </c:pt>
                <c:pt idx="47">
                  <c:v>-2.0259740259740258</c:v>
                </c:pt>
                <c:pt idx="48">
                  <c:v>-1.7175324675324677</c:v>
                </c:pt>
                <c:pt idx="49">
                  <c:v>-1.7987012987012985</c:v>
                </c:pt>
                <c:pt idx="50">
                  <c:v>-1.75</c:v>
                </c:pt>
                <c:pt idx="51">
                  <c:v>-1.6850649350649349</c:v>
                </c:pt>
                <c:pt idx="52">
                  <c:v>-1.6038961038961037</c:v>
                </c:pt>
                <c:pt idx="53">
                  <c:v>-1.5227272727272729</c:v>
                </c:pt>
                <c:pt idx="54">
                  <c:v>-1.4902597402597402</c:v>
                </c:pt>
                <c:pt idx="55">
                  <c:v>-1.7824675324675325</c:v>
                </c:pt>
                <c:pt idx="56">
                  <c:v>-1.0746753246753247</c:v>
                </c:pt>
                <c:pt idx="57">
                  <c:v>-1.279220779220779</c:v>
                </c:pt>
                <c:pt idx="58">
                  <c:v>-1.2305194805194808</c:v>
                </c:pt>
                <c:pt idx="59">
                  <c:v>-1.1493506493506493</c:v>
                </c:pt>
                <c:pt idx="60">
                  <c:v>0.99025974025974028</c:v>
                </c:pt>
                <c:pt idx="61">
                  <c:v>1.7857142857142858</c:v>
                </c:pt>
                <c:pt idx="62">
                  <c:v>1.5389610389610391</c:v>
                </c:pt>
                <c:pt idx="63">
                  <c:v>2.448051948051948</c:v>
                </c:pt>
                <c:pt idx="64">
                  <c:v>2.3344155844155847</c:v>
                </c:pt>
                <c:pt idx="65">
                  <c:v>2.2207792207792205</c:v>
                </c:pt>
                <c:pt idx="66">
                  <c:v>2.1071428571428568</c:v>
                </c:pt>
                <c:pt idx="67">
                  <c:v>1.3441558441558443</c:v>
                </c:pt>
                <c:pt idx="68">
                  <c:v>0.28896103896103903</c:v>
                </c:pt>
                <c:pt idx="69">
                  <c:v>0.19155844155844171</c:v>
                </c:pt>
                <c:pt idx="70">
                  <c:v>0.12662337662337655</c:v>
                </c:pt>
                <c:pt idx="71">
                  <c:v>9.4155844155844257E-2</c:v>
                </c:pt>
                <c:pt idx="72">
                  <c:v>1.2987012987013038E-2</c:v>
                </c:pt>
                <c:pt idx="73">
                  <c:v>-3.5714285714285809E-2</c:v>
                </c:pt>
                <c:pt idx="74">
                  <c:v>-6.8181818181818218E-2</c:v>
                </c:pt>
                <c:pt idx="75">
                  <c:v>-0.14935064935064929</c:v>
                </c:pt>
                <c:pt idx="76">
                  <c:v>-0.18181818181818185</c:v>
                </c:pt>
                <c:pt idx="77">
                  <c:v>-0.21428571428571438</c:v>
                </c:pt>
                <c:pt idx="78">
                  <c:v>0.13311688311688305</c:v>
                </c:pt>
                <c:pt idx="79">
                  <c:v>6.8181818181818094E-2</c:v>
                </c:pt>
                <c:pt idx="80">
                  <c:v>-0.32142857142857151</c:v>
                </c:pt>
                <c:pt idx="81">
                  <c:v>-1.0844155844155843</c:v>
                </c:pt>
                <c:pt idx="82">
                  <c:v>-1.1493506493506493</c:v>
                </c:pt>
                <c:pt idx="83">
                  <c:v>-1.2142857142857142</c:v>
                </c:pt>
                <c:pt idx="84">
                  <c:v>-1.198051948051948</c:v>
                </c:pt>
                <c:pt idx="85">
                  <c:v>-1.1818181818181819</c:v>
                </c:pt>
                <c:pt idx="86">
                  <c:v>-0.80844155844155841</c:v>
                </c:pt>
                <c:pt idx="87">
                  <c:v>-1.1493506493506493</c:v>
                </c:pt>
                <c:pt idx="88">
                  <c:v>-1.1331168831168832</c:v>
                </c:pt>
                <c:pt idx="89">
                  <c:v>-1.1168831168831168</c:v>
                </c:pt>
                <c:pt idx="90">
                  <c:v>-1.2142857142857142</c:v>
                </c:pt>
                <c:pt idx="91">
                  <c:v>-1.5714285714285714</c:v>
                </c:pt>
                <c:pt idx="92">
                  <c:v>-1.5389610389610391</c:v>
                </c:pt>
                <c:pt idx="93">
                  <c:v>-1.5064935064935068</c:v>
                </c:pt>
                <c:pt idx="94">
                  <c:v>-1.474025974025974</c:v>
                </c:pt>
                <c:pt idx="95">
                  <c:v>-1.4415584415584415</c:v>
                </c:pt>
                <c:pt idx="96">
                  <c:v>-1.5389610389610389</c:v>
                </c:pt>
                <c:pt idx="97">
                  <c:v>-1.474025974025974</c:v>
                </c:pt>
                <c:pt idx="98">
                  <c:v>-1.5064935064935068</c:v>
                </c:pt>
                <c:pt idx="99">
                  <c:v>-1.474025974025974</c:v>
                </c:pt>
                <c:pt idx="100">
                  <c:v>-1.4415584415584415</c:v>
                </c:pt>
                <c:pt idx="101">
                  <c:v>-1.4090909090909089</c:v>
                </c:pt>
                <c:pt idx="102">
                  <c:v>-1.3766233766233766</c:v>
                </c:pt>
                <c:pt idx="103">
                  <c:v>-1.3441558441558443</c:v>
                </c:pt>
                <c:pt idx="104">
                  <c:v>-1.3116883116883116</c:v>
                </c:pt>
                <c:pt idx="105">
                  <c:v>-1.1818181818181817</c:v>
                </c:pt>
                <c:pt idx="106">
                  <c:v>-1.2142857142857142</c:v>
                </c:pt>
                <c:pt idx="107">
                  <c:v>-1.2142857142857142</c:v>
                </c:pt>
                <c:pt idx="108">
                  <c:v>-1.5714285714285714</c:v>
                </c:pt>
                <c:pt idx="109">
                  <c:v>-1.5714285714285714</c:v>
                </c:pt>
                <c:pt idx="110">
                  <c:v>-1.1818181818181817</c:v>
                </c:pt>
                <c:pt idx="111">
                  <c:v>-1.1331168831168832</c:v>
                </c:pt>
                <c:pt idx="112">
                  <c:v>-1.1818181818181819</c:v>
                </c:pt>
                <c:pt idx="113">
                  <c:v>-1.5584415584415585</c:v>
                </c:pt>
                <c:pt idx="114">
                  <c:v>-1.3279220779220779</c:v>
                </c:pt>
                <c:pt idx="115">
                  <c:v>-1.3928571428571428</c:v>
                </c:pt>
                <c:pt idx="116">
                  <c:v>-1.3766233766233766</c:v>
                </c:pt>
                <c:pt idx="117">
                  <c:v>-1.3522727272727273</c:v>
                </c:pt>
                <c:pt idx="118">
                  <c:v>-1.3279220779220782</c:v>
                </c:pt>
                <c:pt idx="119">
                  <c:v>-1.3035714285714286</c:v>
                </c:pt>
                <c:pt idx="120">
                  <c:v>-1.5746753246753247</c:v>
                </c:pt>
                <c:pt idx="121">
                  <c:v>-1.5503246753246753</c:v>
                </c:pt>
                <c:pt idx="122">
                  <c:v>-2.2402597402597406</c:v>
                </c:pt>
                <c:pt idx="123">
                  <c:v>-2.1672077922077917</c:v>
                </c:pt>
                <c:pt idx="124">
                  <c:v>-2.1266233766233769</c:v>
                </c:pt>
                <c:pt idx="125">
                  <c:v>-2.1428571428571428</c:v>
                </c:pt>
                <c:pt idx="126">
                  <c:v>-2.0860389610389611</c:v>
                </c:pt>
                <c:pt idx="127">
                  <c:v>-2.1428571428571428</c:v>
                </c:pt>
                <c:pt idx="128">
                  <c:v>-2.1103896103896105</c:v>
                </c:pt>
                <c:pt idx="129">
                  <c:v>-1.9318181818181819</c:v>
                </c:pt>
                <c:pt idx="130">
                  <c:v>-2.3051948051948052</c:v>
                </c:pt>
                <c:pt idx="131">
                  <c:v>-1.5746753246753247</c:v>
                </c:pt>
                <c:pt idx="132">
                  <c:v>-1.7532467532467533</c:v>
                </c:pt>
                <c:pt idx="133">
                  <c:v>-1.5746753246753245</c:v>
                </c:pt>
                <c:pt idx="134">
                  <c:v>-2.1103896103896105</c:v>
                </c:pt>
                <c:pt idx="135">
                  <c:v>-2.2240259740259742</c:v>
                </c:pt>
                <c:pt idx="136">
                  <c:v>-2.3701298701298703</c:v>
                </c:pt>
                <c:pt idx="137">
                  <c:v>-2.3376623376623376</c:v>
                </c:pt>
                <c:pt idx="138">
                  <c:v>-2.1753246753246751</c:v>
                </c:pt>
                <c:pt idx="139">
                  <c:v>-2.3051948051948052</c:v>
                </c:pt>
                <c:pt idx="140">
                  <c:v>-2.6055194805194803</c:v>
                </c:pt>
                <c:pt idx="141">
                  <c:v>-2.2564935064935066</c:v>
                </c:pt>
                <c:pt idx="142">
                  <c:v>-2.5568181818181821</c:v>
                </c:pt>
                <c:pt idx="143">
                  <c:v>-3.0844155844155843</c:v>
                </c:pt>
                <c:pt idx="144">
                  <c:v>-3.0113636363636362</c:v>
                </c:pt>
                <c:pt idx="145">
                  <c:v>-2.9951298701298699</c:v>
                </c:pt>
                <c:pt idx="146">
                  <c:v>-3.1087662337662336</c:v>
                </c:pt>
                <c:pt idx="147">
                  <c:v>-2.8571428571428572</c:v>
                </c:pt>
                <c:pt idx="148">
                  <c:v>-3.3928571428571428</c:v>
                </c:pt>
                <c:pt idx="149">
                  <c:v>-2.4350649350649354</c:v>
                </c:pt>
                <c:pt idx="150">
                  <c:v>-2.3701298701298699</c:v>
                </c:pt>
                <c:pt idx="151">
                  <c:v>-3.3766233766233769</c:v>
                </c:pt>
                <c:pt idx="152">
                  <c:v>-3.3116883116883118</c:v>
                </c:pt>
                <c:pt idx="153">
                  <c:v>-3.0681818181818179</c:v>
                </c:pt>
                <c:pt idx="154">
                  <c:v>-3.279220779220779</c:v>
                </c:pt>
                <c:pt idx="155">
                  <c:v>-3.5876623376623376</c:v>
                </c:pt>
                <c:pt idx="156">
                  <c:v>-3.5389610389610389</c:v>
                </c:pt>
                <c:pt idx="157">
                  <c:v>-3.4902597402597406</c:v>
                </c:pt>
                <c:pt idx="158">
                  <c:v>-3.0844155844155843</c:v>
                </c:pt>
                <c:pt idx="159">
                  <c:v>-3.0357142857142856</c:v>
                </c:pt>
                <c:pt idx="160">
                  <c:v>-2.9707792207792205</c:v>
                </c:pt>
                <c:pt idx="161">
                  <c:v>-2.9383116883116887</c:v>
                </c:pt>
                <c:pt idx="162">
                  <c:v>-2.5162337662337664</c:v>
                </c:pt>
                <c:pt idx="163">
                  <c:v>-2.5974025974025978</c:v>
                </c:pt>
                <c:pt idx="164">
                  <c:v>-1.8344155844155843</c:v>
                </c:pt>
                <c:pt idx="165">
                  <c:v>-2.2970779220779218</c:v>
                </c:pt>
                <c:pt idx="166">
                  <c:v>-2.2402597402597402</c:v>
                </c:pt>
                <c:pt idx="167">
                  <c:v>-1.9886363636363638</c:v>
                </c:pt>
                <c:pt idx="168">
                  <c:v>-2.1915584415584415</c:v>
                </c:pt>
                <c:pt idx="169">
                  <c:v>-2.1509740259740262</c:v>
                </c:pt>
                <c:pt idx="170">
                  <c:v>-2.1103896103896105</c:v>
                </c:pt>
                <c:pt idx="171">
                  <c:v>-2.0698051948051948</c:v>
                </c:pt>
                <c:pt idx="172">
                  <c:v>-2.0779220779220777</c:v>
                </c:pt>
                <c:pt idx="173">
                  <c:v>-2.0373376623376624</c:v>
                </c:pt>
                <c:pt idx="174">
                  <c:v>-2.7110389610389616</c:v>
                </c:pt>
                <c:pt idx="175">
                  <c:v>-1.8879870129870133</c:v>
                </c:pt>
                <c:pt idx="176">
                  <c:v>-2.5974025974025978</c:v>
                </c:pt>
                <c:pt idx="177">
                  <c:v>-2.1314935064935066</c:v>
                </c:pt>
                <c:pt idx="178">
                  <c:v>-2.4512987012987009</c:v>
                </c:pt>
                <c:pt idx="179">
                  <c:v>-2.5568181818181812</c:v>
                </c:pt>
                <c:pt idx="180">
                  <c:v>-1.5876623376623376</c:v>
                </c:pt>
                <c:pt idx="181">
                  <c:v>-1.9642857142857142</c:v>
                </c:pt>
                <c:pt idx="182">
                  <c:v>-1.8993506493506493</c:v>
                </c:pt>
                <c:pt idx="183">
                  <c:v>-2.5487012987012991</c:v>
                </c:pt>
                <c:pt idx="184">
                  <c:v>-2.3051948051948052</c:v>
                </c:pt>
                <c:pt idx="185">
                  <c:v>-2.2402597402597406</c:v>
                </c:pt>
                <c:pt idx="186">
                  <c:v>-2.3831168831168834</c:v>
                </c:pt>
                <c:pt idx="187">
                  <c:v>-2.5162337662337664</c:v>
                </c:pt>
                <c:pt idx="188">
                  <c:v>-2.5</c:v>
                </c:pt>
                <c:pt idx="189">
                  <c:v>-1.2629870129870129</c:v>
                </c:pt>
                <c:pt idx="190">
                  <c:v>-1.2142857142857142</c:v>
                </c:pt>
                <c:pt idx="191">
                  <c:v>-1.5227272727272729</c:v>
                </c:pt>
                <c:pt idx="192">
                  <c:v>-1.4740259740259738</c:v>
                </c:pt>
                <c:pt idx="193">
                  <c:v>-1.7694805194805194</c:v>
                </c:pt>
                <c:pt idx="194">
                  <c:v>-2.5487012987012991</c:v>
                </c:pt>
                <c:pt idx="195">
                  <c:v>-2.6785714285714284</c:v>
                </c:pt>
                <c:pt idx="196">
                  <c:v>-2.654220779220779</c:v>
                </c:pt>
                <c:pt idx="197">
                  <c:v>-2.2727272727272729</c:v>
                </c:pt>
                <c:pt idx="198">
                  <c:v>-1.7613636363636365</c:v>
                </c:pt>
                <c:pt idx="199">
                  <c:v>-1.1818181818181819</c:v>
                </c:pt>
                <c:pt idx="200">
                  <c:v>-1.3717532467532469</c:v>
                </c:pt>
                <c:pt idx="201">
                  <c:v>-1.125</c:v>
                </c:pt>
                <c:pt idx="202">
                  <c:v>-1.1087662337662336</c:v>
                </c:pt>
                <c:pt idx="203">
                  <c:v>-1.7370129870129869</c:v>
                </c:pt>
                <c:pt idx="204">
                  <c:v>-1.8262987012987015</c:v>
                </c:pt>
                <c:pt idx="205">
                  <c:v>-1.8181818181818181</c:v>
                </c:pt>
                <c:pt idx="206">
                  <c:v>-1.8100649350649352</c:v>
                </c:pt>
                <c:pt idx="207">
                  <c:v>-1.8019480519480522</c:v>
                </c:pt>
                <c:pt idx="208">
                  <c:v>-1.7938311688311688</c:v>
                </c:pt>
                <c:pt idx="209">
                  <c:v>-1.48214285714285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0A-4587-ACF0-733A483F7110}"/>
            </c:ext>
          </c:extLst>
        </c:ser>
        <c:ser>
          <c:idx val="1"/>
          <c:order val="1"/>
          <c:tx>
            <c:strRef>
              <c:f>画图!$C$1</c:f>
              <c:strCache>
                <c:ptCount val="1"/>
              </c:strCache>
            </c:strRef>
          </c:tx>
          <c:spPr>
            <a:ln w="19050">
              <a:solidFill>
                <a:srgbClr val="FF0000"/>
              </a:solidFill>
              <a:prstDash val="sysDash"/>
            </a:ln>
          </c:spPr>
          <c:marker>
            <c:symbol val="none"/>
          </c:marker>
          <c:cat>
            <c:strRef>
              <c:f>画图!$A$2:$A$211</c:f>
              <c:strCache>
                <c:ptCount val="21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</c:strCache>
            </c:strRef>
          </c:cat>
          <c:val>
            <c:numRef>
              <c:f>画图!$C$2:$C$211</c:f>
              <c:numCache>
                <c:formatCode>General</c:formatCode>
                <c:ptCount val="210"/>
                <c:pt idx="0">
                  <c:v>-1.696</c:v>
                </c:pt>
                <c:pt idx="1">
                  <c:v>-1.696</c:v>
                </c:pt>
                <c:pt idx="2">
                  <c:v>-1.696</c:v>
                </c:pt>
                <c:pt idx="3">
                  <c:v>-1.696</c:v>
                </c:pt>
                <c:pt idx="4">
                  <c:v>-1.696</c:v>
                </c:pt>
                <c:pt idx="5">
                  <c:v>-1.696</c:v>
                </c:pt>
                <c:pt idx="6">
                  <c:v>-1.696</c:v>
                </c:pt>
                <c:pt idx="7">
                  <c:v>-1.696</c:v>
                </c:pt>
                <c:pt idx="8">
                  <c:v>-1.696</c:v>
                </c:pt>
                <c:pt idx="9">
                  <c:v>-1.696</c:v>
                </c:pt>
                <c:pt idx="10">
                  <c:v>-1.696</c:v>
                </c:pt>
                <c:pt idx="11">
                  <c:v>-1.696</c:v>
                </c:pt>
                <c:pt idx="12">
                  <c:v>-1.696</c:v>
                </c:pt>
                <c:pt idx="13">
                  <c:v>-1.696</c:v>
                </c:pt>
                <c:pt idx="14">
                  <c:v>-1.696</c:v>
                </c:pt>
                <c:pt idx="15">
                  <c:v>-1.696</c:v>
                </c:pt>
                <c:pt idx="16">
                  <c:v>-1.696</c:v>
                </c:pt>
                <c:pt idx="17">
                  <c:v>-1.696</c:v>
                </c:pt>
                <c:pt idx="18">
                  <c:v>-1.696</c:v>
                </c:pt>
                <c:pt idx="19">
                  <c:v>-1.696</c:v>
                </c:pt>
                <c:pt idx="20">
                  <c:v>-1.696</c:v>
                </c:pt>
                <c:pt idx="21">
                  <c:v>-1.696</c:v>
                </c:pt>
                <c:pt idx="22">
                  <c:v>-1.696</c:v>
                </c:pt>
                <c:pt idx="23">
                  <c:v>-1.696</c:v>
                </c:pt>
                <c:pt idx="24">
                  <c:v>-1.696</c:v>
                </c:pt>
                <c:pt idx="25">
                  <c:v>-1.696</c:v>
                </c:pt>
                <c:pt idx="26">
                  <c:v>-1.696</c:v>
                </c:pt>
                <c:pt idx="27">
                  <c:v>-1.696</c:v>
                </c:pt>
                <c:pt idx="28">
                  <c:v>-1.696</c:v>
                </c:pt>
                <c:pt idx="29">
                  <c:v>-1.696</c:v>
                </c:pt>
                <c:pt idx="30">
                  <c:v>-1.696</c:v>
                </c:pt>
                <c:pt idx="31">
                  <c:v>-1.696</c:v>
                </c:pt>
                <c:pt idx="32">
                  <c:v>-1.696</c:v>
                </c:pt>
                <c:pt idx="33">
                  <c:v>-1.696</c:v>
                </c:pt>
                <c:pt idx="34">
                  <c:v>-1.696</c:v>
                </c:pt>
                <c:pt idx="35">
                  <c:v>-1.696</c:v>
                </c:pt>
                <c:pt idx="36">
                  <c:v>-1.696</c:v>
                </c:pt>
                <c:pt idx="37">
                  <c:v>-1.696</c:v>
                </c:pt>
                <c:pt idx="38">
                  <c:v>-1.696</c:v>
                </c:pt>
                <c:pt idx="39">
                  <c:v>-1.696</c:v>
                </c:pt>
                <c:pt idx="40">
                  <c:v>-1.696</c:v>
                </c:pt>
                <c:pt idx="41">
                  <c:v>-1.696</c:v>
                </c:pt>
                <c:pt idx="42">
                  <c:v>-1.696</c:v>
                </c:pt>
                <c:pt idx="43">
                  <c:v>-1.696</c:v>
                </c:pt>
                <c:pt idx="44">
                  <c:v>-1.696</c:v>
                </c:pt>
                <c:pt idx="45">
                  <c:v>-1.696</c:v>
                </c:pt>
                <c:pt idx="46">
                  <c:v>-1.696</c:v>
                </c:pt>
                <c:pt idx="47">
                  <c:v>-1.696</c:v>
                </c:pt>
                <c:pt idx="48">
                  <c:v>-1.696</c:v>
                </c:pt>
                <c:pt idx="49">
                  <c:v>-1.696</c:v>
                </c:pt>
                <c:pt idx="50">
                  <c:v>-1.696</c:v>
                </c:pt>
                <c:pt idx="51">
                  <c:v>-1.696</c:v>
                </c:pt>
                <c:pt idx="52">
                  <c:v>-1.696</c:v>
                </c:pt>
                <c:pt idx="53">
                  <c:v>-1.696</c:v>
                </c:pt>
                <c:pt idx="54">
                  <c:v>-1.696</c:v>
                </c:pt>
                <c:pt idx="55">
                  <c:v>-1.696</c:v>
                </c:pt>
                <c:pt idx="56">
                  <c:v>-1.696</c:v>
                </c:pt>
                <c:pt idx="57">
                  <c:v>-1.696</c:v>
                </c:pt>
                <c:pt idx="58">
                  <c:v>-1.696</c:v>
                </c:pt>
                <c:pt idx="59">
                  <c:v>-1.696</c:v>
                </c:pt>
                <c:pt idx="60">
                  <c:v>-1.696</c:v>
                </c:pt>
                <c:pt idx="61">
                  <c:v>-1.696</c:v>
                </c:pt>
                <c:pt idx="62">
                  <c:v>-1.696</c:v>
                </c:pt>
                <c:pt idx="63">
                  <c:v>-1.696</c:v>
                </c:pt>
                <c:pt idx="64">
                  <c:v>-1.696</c:v>
                </c:pt>
                <c:pt idx="65">
                  <c:v>-1.696</c:v>
                </c:pt>
                <c:pt idx="66">
                  <c:v>-1.696</c:v>
                </c:pt>
                <c:pt idx="67">
                  <c:v>-1.696</c:v>
                </c:pt>
                <c:pt idx="68">
                  <c:v>-1.696</c:v>
                </c:pt>
                <c:pt idx="69">
                  <c:v>-1.696</c:v>
                </c:pt>
                <c:pt idx="70">
                  <c:v>-1.696</c:v>
                </c:pt>
                <c:pt idx="71">
                  <c:v>-1.696</c:v>
                </c:pt>
                <c:pt idx="72">
                  <c:v>-1.696</c:v>
                </c:pt>
                <c:pt idx="73">
                  <c:v>-1.696</c:v>
                </c:pt>
                <c:pt idx="74">
                  <c:v>-1.696</c:v>
                </c:pt>
                <c:pt idx="75">
                  <c:v>-1.696</c:v>
                </c:pt>
                <c:pt idx="76">
                  <c:v>-1.696</c:v>
                </c:pt>
                <c:pt idx="77">
                  <c:v>-1.696</c:v>
                </c:pt>
                <c:pt idx="78">
                  <c:v>-1.696</c:v>
                </c:pt>
                <c:pt idx="79">
                  <c:v>-1.696</c:v>
                </c:pt>
                <c:pt idx="80">
                  <c:v>-1.696</c:v>
                </c:pt>
                <c:pt idx="81">
                  <c:v>-1.696</c:v>
                </c:pt>
                <c:pt idx="82">
                  <c:v>-1.696</c:v>
                </c:pt>
                <c:pt idx="83">
                  <c:v>-1.696</c:v>
                </c:pt>
                <c:pt idx="84">
                  <c:v>-1.696</c:v>
                </c:pt>
                <c:pt idx="85">
                  <c:v>-1.696</c:v>
                </c:pt>
                <c:pt idx="86">
                  <c:v>-1.696</c:v>
                </c:pt>
                <c:pt idx="87">
                  <c:v>-1.696</c:v>
                </c:pt>
                <c:pt idx="88">
                  <c:v>-1.696</c:v>
                </c:pt>
                <c:pt idx="89">
                  <c:v>-1.696</c:v>
                </c:pt>
                <c:pt idx="90">
                  <c:v>-1.696</c:v>
                </c:pt>
                <c:pt idx="91">
                  <c:v>-1.696</c:v>
                </c:pt>
                <c:pt idx="92">
                  <c:v>-1.696</c:v>
                </c:pt>
                <c:pt idx="93">
                  <c:v>-1.696</c:v>
                </c:pt>
                <c:pt idx="94">
                  <c:v>-1.696</c:v>
                </c:pt>
                <c:pt idx="95">
                  <c:v>-1.696</c:v>
                </c:pt>
                <c:pt idx="96">
                  <c:v>-1.696</c:v>
                </c:pt>
                <c:pt idx="97">
                  <c:v>-1.696</c:v>
                </c:pt>
                <c:pt idx="98">
                  <c:v>-1.696</c:v>
                </c:pt>
                <c:pt idx="99">
                  <c:v>-1.696</c:v>
                </c:pt>
                <c:pt idx="100">
                  <c:v>-1.696</c:v>
                </c:pt>
                <c:pt idx="101">
                  <c:v>-1.696</c:v>
                </c:pt>
                <c:pt idx="102">
                  <c:v>-1.696</c:v>
                </c:pt>
                <c:pt idx="103">
                  <c:v>-1.696</c:v>
                </c:pt>
                <c:pt idx="104">
                  <c:v>-1.696</c:v>
                </c:pt>
                <c:pt idx="105">
                  <c:v>-1.696</c:v>
                </c:pt>
                <c:pt idx="106">
                  <c:v>-1.696</c:v>
                </c:pt>
                <c:pt idx="107">
                  <c:v>-1.696</c:v>
                </c:pt>
                <c:pt idx="108">
                  <c:v>-1.696</c:v>
                </c:pt>
                <c:pt idx="109">
                  <c:v>-1.696</c:v>
                </c:pt>
                <c:pt idx="110">
                  <c:v>-1.696</c:v>
                </c:pt>
                <c:pt idx="111">
                  <c:v>-1.696</c:v>
                </c:pt>
                <c:pt idx="112">
                  <c:v>-1.696</c:v>
                </c:pt>
                <c:pt idx="113">
                  <c:v>-1.696</c:v>
                </c:pt>
                <c:pt idx="114">
                  <c:v>-1.696</c:v>
                </c:pt>
                <c:pt idx="115">
                  <c:v>-1.696</c:v>
                </c:pt>
                <c:pt idx="116">
                  <c:v>-1.696</c:v>
                </c:pt>
                <c:pt idx="117">
                  <c:v>-1.696</c:v>
                </c:pt>
                <c:pt idx="118">
                  <c:v>-1.696</c:v>
                </c:pt>
                <c:pt idx="119">
                  <c:v>-1.696</c:v>
                </c:pt>
                <c:pt idx="120">
                  <c:v>-1.696</c:v>
                </c:pt>
                <c:pt idx="121">
                  <c:v>-1.696</c:v>
                </c:pt>
                <c:pt idx="122">
                  <c:v>-1.696</c:v>
                </c:pt>
                <c:pt idx="123">
                  <c:v>-1.696</c:v>
                </c:pt>
                <c:pt idx="124">
                  <c:v>-1.696</c:v>
                </c:pt>
                <c:pt idx="125">
                  <c:v>-1.696</c:v>
                </c:pt>
                <c:pt idx="126">
                  <c:v>-1.696</c:v>
                </c:pt>
                <c:pt idx="127">
                  <c:v>-1.696</c:v>
                </c:pt>
                <c:pt idx="128">
                  <c:v>-1.696</c:v>
                </c:pt>
                <c:pt idx="129">
                  <c:v>-1.696</c:v>
                </c:pt>
                <c:pt idx="130">
                  <c:v>-1.696</c:v>
                </c:pt>
                <c:pt idx="131">
                  <c:v>-1.696</c:v>
                </c:pt>
                <c:pt idx="132">
                  <c:v>-1.696</c:v>
                </c:pt>
                <c:pt idx="133">
                  <c:v>-1.696</c:v>
                </c:pt>
                <c:pt idx="134">
                  <c:v>-1.696</c:v>
                </c:pt>
                <c:pt idx="135">
                  <c:v>-1.696</c:v>
                </c:pt>
                <c:pt idx="136">
                  <c:v>-1.696</c:v>
                </c:pt>
                <c:pt idx="137">
                  <c:v>-1.696</c:v>
                </c:pt>
                <c:pt idx="138">
                  <c:v>-1.696</c:v>
                </c:pt>
                <c:pt idx="139">
                  <c:v>-1.696</c:v>
                </c:pt>
                <c:pt idx="140">
                  <c:v>-1.696</c:v>
                </c:pt>
                <c:pt idx="141">
                  <c:v>-1.696</c:v>
                </c:pt>
                <c:pt idx="142">
                  <c:v>-1.696</c:v>
                </c:pt>
                <c:pt idx="143">
                  <c:v>-1.696</c:v>
                </c:pt>
                <c:pt idx="144">
                  <c:v>-1.696</c:v>
                </c:pt>
                <c:pt idx="145">
                  <c:v>-1.696</c:v>
                </c:pt>
                <c:pt idx="146">
                  <c:v>-1.696</c:v>
                </c:pt>
                <c:pt idx="147">
                  <c:v>-1.696</c:v>
                </c:pt>
                <c:pt idx="148">
                  <c:v>-1.696</c:v>
                </c:pt>
                <c:pt idx="149">
                  <c:v>-1.696</c:v>
                </c:pt>
                <c:pt idx="150">
                  <c:v>-1.696</c:v>
                </c:pt>
                <c:pt idx="151">
                  <c:v>-1.696</c:v>
                </c:pt>
                <c:pt idx="152">
                  <c:v>-1.696</c:v>
                </c:pt>
                <c:pt idx="153">
                  <c:v>-1.696</c:v>
                </c:pt>
                <c:pt idx="154">
                  <c:v>-1.696</c:v>
                </c:pt>
                <c:pt idx="155">
                  <c:v>-1.696</c:v>
                </c:pt>
                <c:pt idx="156">
                  <c:v>-1.696</c:v>
                </c:pt>
                <c:pt idx="157">
                  <c:v>-1.696</c:v>
                </c:pt>
                <c:pt idx="158">
                  <c:v>-1.696</c:v>
                </c:pt>
                <c:pt idx="159">
                  <c:v>-1.696</c:v>
                </c:pt>
                <c:pt idx="160">
                  <c:v>-1.696</c:v>
                </c:pt>
                <c:pt idx="161">
                  <c:v>-1.696</c:v>
                </c:pt>
                <c:pt idx="162">
                  <c:v>-1.696</c:v>
                </c:pt>
                <c:pt idx="163">
                  <c:v>-1.696</c:v>
                </c:pt>
                <c:pt idx="164">
                  <c:v>-1.696</c:v>
                </c:pt>
                <c:pt idx="165">
                  <c:v>-1.696</c:v>
                </c:pt>
                <c:pt idx="166">
                  <c:v>-1.696</c:v>
                </c:pt>
                <c:pt idx="167">
                  <c:v>-1.696</c:v>
                </c:pt>
                <c:pt idx="168">
                  <c:v>-1.696</c:v>
                </c:pt>
                <c:pt idx="169">
                  <c:v>-1.696</c:v>
                </c:pt>
                <c:pt idx="170">
                  <c:v>-1.696</c:v>
                </c:pt>
                <c:pt idx="171">
                  <c:v>-1.696</c:v>
                </c:pt>
                <c:pt idx="172">
                  <c:v>-1.696</c:v>
                </c:pt>
                <c:pt idx="173">
                  <c:v>-1.696</c:v>
                </c:pt>
                <c:pt idx="174">
                  <c:v>-1.696</c:v>
                </c:pt>
                <c:pt idx="175">
                  <c:v>-1.696</c:v>
                </c:pt>
                <c:pt idx="176">
                  <c:v>-1.696</c:v>
                </c:pt>
                <c:pt idx="177">
                  <c:v>-1.696</c:v>
                </c:pt>
                <c:pt idx="178">
                  <c:v>-1.696</c:v>
                </c:pt>
                <c:pt idx="179">
                  <c:v>-1.696</c:v>
                </c:pt>
                <c:pt idx="180">
                  <c:v>-1.696</c:v>
                </c:pt>
                <c:pt idx="181">
                  <c:v>-1.696</c:v>
                </c:pt>
                <c:pt idx="182">
                  <c:v>-1.696</c:v>
                </c:pt>
                <c:pt idx="183">
                  <c:v>-1.696</c:v>
                </c:pt>
                <c:pt idx="184">
                  <c:v>-1.696</c:v>
                </c:pt>
                <c:pt idx="185">
                  <c:v>-1.696</c:v>
                </c:pt>
                <c:pt idx="186">
                  <c:v>-1.696</c:v>
                </c:pt>
                <c:pt idx="187">
                  <c:v>-1.696</c:v>
                </c:pt>
                <c:pt idx="188">
                  <c:v>-1.696</c:v>
                </c:pt>
                <c:pt idx="189">
                  <c:v>-1.696</c:v>
                </c:pt>
                <c:pt idx="190">
                  <c:v>-1.696</c:v>
                </c:pt>
                <c:pt idx="191">
                  <c:v>-1.696</c:v>
                </c:pt>
                <c:pt idx="192">
                  <c:v>-1.696</c:v>
                </c:pt>
                <c:pt idx="193">
                  <c:v>-1.696</c:v>
                </c:pt>
                <c:pt idx="194">
                  <c:v>-1.696</c:v>
                </c:pt>
                <c:pt idx="195">
                  <c:v>-1.696</c:v>
                </c:pt>
                <c:pt idx="196">
                  <c:v>-1.696</c:v>
                </c:pt>
                <c:pt idx="197">
                  <c:v>-1.696</c:v>
                </c:pt>
                <c:pt idx="198">
                  <c:v>-1.696</c:v>
                </c:pt>
                <c:pt idx="199">
                  <c:v>-1.696</c:v>
                </c:pt>
                <c:pt idx="200">
                  <c:v>-1.696</c:v>
                </c:pt>
                <c:pt idx="201">
                  <c:v>-1.696</c:v>
                </c:pt>
                <c:pt idx="202">
                  <c:v>-1.696</c:v>
                </c:pt>
                <c:pt idx="203">
                  <c:v>-1.696</c:v>
                </c:pt>
                <c:pt idx="204">
                  <c:v>-1.696</c:v>
                </c:pt>
                <c:pt idx="205">
                  <c:v>-1.696</c:v>
                </c:pt>
                <c:pt idx="206">
                  <c:v>-1.696</c:v>
                </c:pt>
                <c:pt idx="207">
                  <c:v>-1.696</c:v>
                </c:pt>
                <c:pt idx="208">
                  <c:v>-1.696</c:v>
                </c:pt>
                <c:pt idx="209">
                  <c:v>-1.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0A-4587-ACF0-733A483F7110}"/>
            </c:ext>
          </c:extLst>
        </c:ser>
        <c:ser>
          <c:idx val="2"/>
          <c:order val="2"/>
          <c:tx>
            <c:strRef>
              <c:f>画图!$D$1</c:f>
              <c:strCache>
                <c:ptCount val="1"/>
              </c:strCache>
            </c:strRef>
          </c:tx>
          <c:spPr>
            <a:ln w="19050">
              <a:solidFill>
                <a:srgbClr val="0D97FF"/>
              </a:solidFill>
              <a:prstDash val="sysDash"/>
            </a:ln>
          </c:spPr>
          <c:marker>
            <c:symbol val="none"/>
          </c:marker>
          <c:cat>
            <c:strRef>
              <c:f>画图!$A$2:$A$211</c:f>
              <c:strCache>
                <c:ptCount val="21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</c:strCache>
            </c:strRef>
          </c:cat>
          <c:val>
            <c:numRef>
              <c:f>画图!$D$2:$D$211</c:f>
              <c:numCache>
                <c:formatCode>General</c:formatCode>
                <c:ptCount val="210"/>
                <c:pt idx="0">
                  <c:v>-0.84799999999999998</c:v>
                </c:pt>
                <c:pt idx="1">
                  <c:v>-0.84799999999999998</c:v>
                </c:pt>
                <c:pt idx="2">
                  <c:v>-0.84799999999999998</c:v>
                </c:pt>
                <c:pt idx="3">
                  <c:v>-0.84799999999999998</c:v>
                </c:pt>
                <c:pt idx="4">
                  <c:v>-0.84799999999999998</c:v>
                </c:pt>
                <c:pt idx="5">
                  <c:v>-0.84799999999999998</c:v>
                </c:pt>
                <c:pt idx="6">
                  <c:v>-0.84799999999999998</c:v>
                </c:pt>
                <c:pt idx="7">
                  <c:v>-0.84799999999999998</c:v>
                </c:pt>
                <c:pt idx="8">
                  <c:v>-0.84799999999999998</c:v>
                </c:pt>
                <c:pt idx="9">
                  <c:v>-0.84799999999999998</c:v>
                </c:pt>
                <c:pt idx="10">
                  <c:v>-0.84799999999999998</c:v>
                </c:pt>
                <c:pt idx="11">
                  <c:v>-0.84799999999999998</c:v>
                </c:pt>
                <c:pt idx="12">
                  <c:v>-0.84799999999999998</c:v>
                </c:pt>
                <c:pt idx="13">
                  <c:v>-0.84799999999999998</c:v>
                </c:pt>
                <c:pt idx="14">
                  <c:v>-0.84799999999999998</c:v>
                </c:pt>
                <c:pt idx="15">
                  <c:v>-0.84799999999999998</c:v>
                </c:pt>
                <c:pt idx="16">
                  <c:v>-0.84799999999999998</c:v>
                </c:pt>
                <c:pt idx="17">
                  <c:v>-0.84799999999999998</c:v>
                </c:pt>
                <c:pt idx="18">
                  <c:v>-0.84799999999999998</c:v>
                </c:pt>
                <c:pt idx="19">
                  <c:v>-0.84799999999999998</c:v>
                </c:pt>
                <c:pt idx="20">
                  <c:v>-0.84799999999999998</c:v>
                </c:pt>
                <c:pt idx="21">
                  <c:v>-0.84799999999999998</c:v>
                </c:pt>
                <c:pt idx="22">
                  <c:v>-0.84799999999999998</c:v>
                </c:pt>
                <c:pt idx="23">
                  <c:v>-0.84799999999999998</c:v>
                </c:pt>
                <c:pt idx="24">
                  <c:v>-0.84799999999999998</c:v>
                </c:pt>
                <c:pt idx="25">
                  <c:v>-0.84799999999999998</c:v>
                </c:pt>
                <c:pt idx="26">
                  <c:v>-0.84799999999999998</c:v>
                </c:pt>
                <c:pt idx="27">
                  <c:v>-0.84799999999999998</c:v>
                </c:pt>
                <c:pt idx="28">
                  <c:v>-0.84799999999999998</c:v>
                </c:pt>
                <c:pt idx="29">
                  <c:v>-0.84799999999999998</c:v>
                </c:pt>
                <c:pt idx="30">
                  <c:v>-0.84799999999999998</c:v>
                </c:pt>
                <c:pt idx="31">
                  <c:v>-0.84799999999999998</c:v>
                </c:pt>
                <c:pt idx="32">
                  <c:v>-0.84799999999999998</c:v>
                </c:pt>
                <c:pt idx="33">
                  <c:v>-0.84799999999999998</c:v>
                </c:pt>
                <c:pt idx="34">
                  <c:v>-0.84799999999999998</c:v>
                </c:pt>
                <c:pt idx="35">
                  <c:v>-0.84799999999999998</c:v>
                </c:pt>
                <c:pt idx="36">
                  <c:v>-0.84799999999999998</c:v>
                </c:pt>
                <c:pt idx="37">
                  <c:v>-0.84799999999999998</c:v>
                </c:pt>
                <c:pt idx="38">
                  <c:v>-0.84799999999999998</c:v>
                </c:pt>
                <c:pt idx="39">
                  <c:v>-0.84799999999999998</c:v>
                </c:pt>
                <c:pt idx="40">
                  <c:v>-0.84799999999999998</c:v>
                </c:pt>
                <c:pt idx="41">
                  <c:v>-0.84799999999999998</c:v>
                </c:pt>
                <c:pt idx="42">
                  <c:v>-0.84799999999999998</c:v>
                </c:pt>
                <c:pt idx="43">
                  <c:v>-0.84799999999999998</c:v>
                </c:pt>
                <c:pt idx="44">
                  <c:v>-0.84799999999999998</c:v>
                </c:pt>
                <c:pt idx="45">
                  <c:v>-0.84799999999999998</c:v>
                </c:pt>
                <c:pt idx="46">
                  <c:v>-0.84799999999999998</c:v>
                </c:pt>
                <c:pt idx="47">
                  <c:v>-0.84799999999999998</c:v>
                </c:pt>
                <c:pt idx="48">
                  <c:v>-0.84799999999999998</c:v>
                </c:pt>
                <c:pt idx="49">
                  <c:v>-0.84799999999999998</c:v>
                </c:pt>
                <c:pt idx="50">
                  <c:v>-0.84799999999999998</c:v>
                </c:pt>
                <c:pt idx="51">
                  <c:v>-0.84799999999999998</c:v>
                </c:pt>
                <c:pt idx="52">
                  <c:v>-0.84799999999999998</c:v>
                </c:pt>
                <c:pt idx="53">
                  <c:v>-0.84799999999999998</c:v>
                </c:pt>
                <c:pt idx="54">
                  <c:v>-0.84799999999999998</c:v>
                </c:pt>
                <c:pt idx="55">
                  <c:v>-0.84799999999999998</c:v>
                </c:pt>
                <c:pt idx="56">
                  <c:v>-0.84799999999999998</c:v>
                </c:pt>
                <c:pt idx="57">
                  <c:v>-0.84799999999999998</c:v>
                </c:pt>
                <c:pt idx="58">
                  <c:v>-0.84799999999999998</c:v>
                </c:pt>
                <c:pt idx="59">
                  <c:v>-0.84799999999999998</c:v>
                </c:pt>
                <c:pt idx="60">
                  <c:v>-0.84799999999999998</c:v>
                </c:pt>
                <c:pt idx="61">
                  <c:v>-0.84799999999999998</c:v>
                </c:pt>
                <c:pt idx="62">
                  <c:v>-0.84799999999999998</c:v>
                </c:pt>
                <c:pt idx="63">
                  <c:v>-0.84799999999999998</c:v>
                </c:pt>
                <c:pt idx="64">
                  <c:v>-0.84799999999999998</c:v>
                </c:pt>
                <c:pt idx="65">
                  <c:v>-0.84799999999999998</c:v>
                </c:pt>
                <c:pt idx="66">
                  <c:v>-0.84799999999999998</c:v>
                </c:pt>
                <c:pt idx="67">
                  <c:v>-0.84799999999999998</c:v>
                </c:pt>
                <c:pt idx="68">
                  <c:v>-0.84799999999999998</c:v>
                </c:pt>
                <c:pt idx="69">
                  <c:v>-0.84799999999999998</c:v>
                </c:pt>
                <c:pt idx="70">
                  <c:v>-0.84799999999999998</c:v>
                </c:pt>
                <c:pt idx="71">
                  <c:v>-0.84799999999999998</c:v>
                </c:pt>
                <c:pt idx="72">
                  <c:v>-0.84799999999999998</c:v>
                </c:pt>
                <c:pt idx="73">
                  <c:v>-0.84799999999999998</c:v>
                </c:pt>
                <c:pt idx="74">
                  <c:v>-0.84799999999999998</c:v>
                </c:pt>
                <c:pt idx="75">
                  <c:v>-0.84799999999999998</c:v>
                </c:pt>
                <c:pt idx="76">
                  <c:v>-0.84799999999999998</c:v>
                </c:pt>
                <c:pt idx="77">
                  <c:v>-0.84799999999999998</c:v>
                </c:pt>
                <c:pt idx="78">
                  <c:v>-0.84799999999999998</c:v>
                </c:pt>
                <c:pt idx="79">
                  <c:v>-0.84799999999999998</c:v>
                </c:pt>
                <c:pt idx="80">
                  <c:v>-0.84799999999999998</c:v>
                </c:pt>
                <c:pt idx="81">
                  <c:v>-0.84799999999999998</c:v>
                </c:pt>
                <c:pt idx="82">
                  <c:v>-0.84799999999999998</c:v>
                </c:pt>
                <c:pt idx="83">
                  <c:v>-0.84799999999999998</c:v>
                </c:pt>
                <c:pt idx="84">
                  <c:v>-0.84799999999999998</c:v>
                </c:pt>
                <c:pt idx="85">
                  <c:v>-0.84799999999999998</c:v>
                </c:pt>
                <c:pt idx="86">
                  <c:v>-0.84799999999999998</c:v>
                </c:pt>
                <c:pt idx="87">
                  <c:v>-0.84799999999999998</c:v>
                </c:pt>
                <c:pt idx="88">
                  <c:v>-0.84799999999999998</c:v>
                </c:pt>
                <c:pt idx="89">
                  <c:v>-0.84799999999999998</c:v>
                </c:pt>
                <c:pt idx="90">
                  <c:v>-0.84799999999999998</c:v>
                </c:pt>
                <c:pt idx="91">
                  <c:v>-0.84799999999999998</c:v>
                </c:pt>
                <c:pt idx="92">
                  <c:v>-0.84799999999999998</c:v>
                </c:pt>
                <c:pt idx="93">
                  <c:v>-0.84799999999999998</c:v>
                </c:pt>
                <c:pt idx="94">
                  <c:v>-0.84799999999999998</c:v>
                </c:pt>
                <c:pt idx="95">
                  <c:v>-0.84799999999999998</c:v>
                </c:pt>
                <c:pt idx="96">
                  <c:v>-0.84799999999999998</c:v>
                </c:pt>
                <c:pt idx="97">
                  <c:v>-0.84799999999999998</c:v>
                </c:pt>
                <c:pt idx="98">
                  <c:v>-0.84799999999999998</c:v>
                </c:pt>
                <c:pt idx="99">
                  <c:v>-0.84799999999999998</c:v>
                </c:pt>
                <c:pt idx="100">
                  <c:v>-0.84799999999999998</c:v>
                </c:pt>
                <c:pt idx="101">
                  <c:v>-0.84799999999999998</c:v>
                </c:pt>
                <c:pt idx="102">
                  <c:v>-0.84799999999999998</c:v>
                </c:pt>
                <c:pt idx="103">
                  <c:v>-0.84799999999999998</c:v>
                </c:pt>
                <c:pt idx="104">
                  <c:v>-0.84799999999999998</c:v>
                </c:pt>
                <c:pt idx="105">
                  <c:v>-0.84799999999999998</c:v>
                </c:pt>
                <c:pt idx="106">
                  <c:v>-0.84799999999999998</c:v>
                </c:pt>
                <c:pt idx="107">
                  <c:v>-0.84799999999999998</c:v>
                </c:pt>
                <c:pt idx="108">
                  <c:v>-0.84799999999999998</c:v>
                </c:pt>
                <c:pt idx="109">
                  <c:v>-0.84799999999999998</c:v>
                </c:pt>
                <c:pt idx="110">
                  <c:v>-0.84799999999999998</c:v>
                </c:pt>
                <c:pt idx="111">
                  <c:v>-0.84799999999999998</c:v>
                </c:pt>
                <c:pt idx="112">
                  <c:v>-0.84799999999999998</c:v>
                </c:pt>
                <c:pt idx="113">
                  <c:v>-0.84799999999999998</c:v>
                </c:pt>
                <c:pt idx="114">
                  <c:v>-0.84799999999999998</c:v>
                </c:pt>
                <c:pt idx="115">
                  <c:v>-0.84799999999999998</c:v>
                </c:pt>
                <c:pt idx="116">
                  <c:v>-0.84799999999999998</c:v>
                </c:pt>
                <c:pt idx="117">
                  <c:v>-0.84799999999999998</c:v>
                </c:pt>
                <c:pt idx="118">
                  <c:v>-0.84799999999999998</c:v>
                </c:pt>
                <c:pt idx="119">
                  <c:v>-0.84799999999999998</c:v>
                </c:pt>
                <c:pt idx="120">
                  <c:v>-0.84799999999999998</c:v>
                </c:pt>
                <c:pt idx="121">
                  <c:v>-0.84799999999999998</c:v>
                </c:pt>
                <c:pt idx="122">
                  <c:v>-0.84799999999999998</c:v>
                </c:pt>
                <c:pt idx="123">
                  <c:v>-0.84799999999999998</c:v>
                </c:pt>
                <c:pt idx="124">
                  <c:v>-0.84799999999999998</c:v>
                </c:pt>
                <c:pt idx="125">
                  <c:v>-0.84799999999999998</c:v>
                </c:pt>
                <c:pt idx="126">
                  <c:v>-0.84799999999999998</c:v>
                </c:pt>
                <c:pt idx="127">
                  <c:v>-0.84799999999999998</c:v>
                </c:pt>
                <c:pt idx="128">
                  <c:v>-0.84799999999999998</c:v>
                </c:pt>
                <c:pt idx="129">
                  <c:v>-0.84799999999999998</c:v>
                </c:pt>
                <c:pt idx="130">
                  <c:v>-0.84799999999999998</c:v>
                </c:pt>
                <c:pt idx="131">
                  <c:v>-0.84799999999999998</c:v>
                </c:pt>
                <c:pt idx="132">
                  <c:v>-0.84799999999999998</c:v>
                </c:pt>
                <c:pt idx="133">
                  <c:v>-0.84799999999999998</c:v>
                </c:pt>
                <c:pt idx="134">
                  <c:v>-0.84799999999999998</c:v>
                </c:pt>
                <c:pt idx="135">
                  <c:v>-0.84799999999999998</c:v>
                </c:pt>
                <c:pt idx="136">
                  <c:v>-0.84799999999999998</c:v>
                </c:pt>
                <c:pt idx="137">
                  <c:v>-0.84799999999999998</c:v>
                </c:pt>
                <c:pt idx="138">
                  <c:v>-0.84799999999999998</c:v>
                </c:pt>
                <c:pt idx="139">
                  <c:v>-0.84799999999999998</c:v>
                </c:pt>
                <c:pt idx="140">
                  <c:v>-0.84799999999999998</c:v>
                </c:pt>
                <c:pt idx="141">
                  <c:v>-0.84799999999999998</c:v>
                </c:pt>
                <c:pt idx="142">
                  <c:v>-0.84799999999999998</c:v>
                </c:pt>
                <c:pt idx="143">
                  <c:v>-0.84799999999999998</c:v>
                </c:pt>
                <c:pt idx="144">
                  <c:v>-0.84799999999999998</c:v>
                </c:pt>
                <c:pt idx="145">
                  <c:v>-0.84799999999999998</c:v>
                </c:pt>
                <c:pt idx="146">
                  <c:v>-0.84799999999999998</c:v>
                </c:pt>
                <c:pt idx="147">
                  <c:v>-0.84799999999999998</c:v>
                </c:pt>
                <c:pt idx="148">
                  <c:v>-0.84799999999999998</c:v>
                </c:pt>
                <c:pt idx="149">
                  <c:v>-0.84799999999999998</c:v>
                </c:pt>
                <c:pt idx="150">
                  <c:v>-0.84799999999999998</c:v>
                </c:pt>
                <c:pt idx="151">
                  <c:v>-0.84799999999999998</c:v>
                </c:pt>
                <c:pt idx="152">
                  <c:v>-0.84799999999999998</c:v>
                </c:pt>
                <c:pt idx="153">
                  <c:v>-0.84799999999999998</c:v>
                </c:pt>
                <c:pt idx="154">
                  <c:v>-0.84799999999999998</c:v>
                </c:pt>
                <c:pt idx="155">
                  <c:v>-0.84799999999999998</c:v>
                </c:pt>
                <c:pt idx="156">
                  <c:v>-0.84799999999999998</c:v>
                </c:pt>
                <c:pt idx="157">
                  <c:v>-0.84799999999999998</c:v>
                </c:pt>
                <c:pt idx="158">
                  <c:v>-0.84799999999999998</c:v>
                </c:pt>
                <c:pt idx="159">
                  <c:v>-0.84799999999999998</c:v>
                </c:pt>
                <c:pt idx="160">
                  <c:v>-0.84799999999999998</c:v>
                </c:pt>
                <c:pt idx="161">
                  <c:v>-0.84799999999999998</c:v>
                </c:pt>
                <c:pt idx="162">
                  <c:v>-0.84799999999999998</c:v>
                </c:pt>
                <c:pt idx="163">
                  <c:v>-0.84799999999999998</c:v>
                </c:pt>
                <c:pt idx="164">
                  <c:v>-0.84799999999999998</c:v>
                </c:pt>
                <c:pt idx="165">
                  <c:v>-0.84799999999999998</c:v>
                </c:pt>
                <c:pt idx="166">
                  <c:v>-0.84799999999999998</c:v>
                </c:pt>
                <c:pt idx="167">
                  <c:v>-0.84799999999999998</c:v>
                </c:pt>
                <c:pt idx="168">
                  <c:v>-0.84799999999999998</c:v>
                </c:pt>
                <c:pt idx="169">
                  <c:v>-0.84799999999999998</c:v>
                </c:pt>
                <c:pt idx="170">
                  <c:v>-0.84799999999999998</c:v>
                </c:pt>
                <c:pt idx="171">
                  <c:v>-0.84799999999999998</c:v>
                </c:pt>
                <c:pt idx="172">
                  <c:v>-0.84799999999999998</c:v>
                </c:pt>
                <c:pt idx="173">
                  <c:v>-0.84799999999999998</c:v>
                </c:pt>
                <c:pt idx="174">
                  <c:v>-0.84799999999999998</c:v>
                </c:pt>
                <c:pt idx="175">
                  <c:v>-0.84799999999999998</c:v>
                </c:pt>
                <c:pt idx="176">
                  <c:v>-0.84799999999999998</c:v>
                </c:pt>
                <c:pt idx="177">
                  <c:v>-0.84799999999999998</c:v>
                </c:pt>
                <c:pt idx="178">
                  <c:v>-0.84799999999999998</c:v>
                </c:pt>
                <c:pt idx="179">
                  <c:v>-0.84799999999999998</c:v>
                </c:pt>
                <c:pt idx="180">
                  <c:v>-0.84799999999999998</c:v>
                </c:pt>
                <c:pt idx="181">
                  <c:v>-0.84799999999999998</c:v>
                </c:pt>
                <c:pt idx="182">
                  <c:v>-0.84799999999999998</c:v>
                </c:pt>
                <c:pt idx="183">
                  <c:v>-0.84799999999999998</c:v>
                </c:pt>
                <c:pt idx="184">
                  <c:v>-0.84799999999999998</c:v>
                </c:pt>
                <c:pt idx="185">
                  <c:v>-0.84799999999999998</c:v>
                </c:pt>
                <c:pt idx="186">
                  <c:v>-0.84799999999999998</c:v>
                </c:pt>
                <c:pt idx="187">
                  <c:v>-0.84799999999999998</c:v>
                </c:pt>
                <c:pt idx="188">
                  <c:v>-0.84799999999999998</c:v>
                </c:pt>
                <c:pt idx="189">
                  <c:v>-0.84799999999999998</c:v>
                </c:pt>
                <c:pt idx="190">
                  <c:v>-0.84799999999999998</c:v>
                </c:pt>
                <c:pt idx="191">
                  <c:v>-0.84799999999999998</c:v>
                </c:pt>
                <c:pt idx="192">
                  <c:v>-0.84799999999999998</c:v>
                </c:pt>
                <c:pt idx="193">
                  <c:v>-0.84799999999999998</c:v>
                </c:pt>
                <c:pt idx="194">
                  <c:v>-0.84799999999999998</c:v>
                </c:pt>
                <c:pt idx="195">
                  <c:v>-0.84799999999999998</c:v>
                </c:pt>
                <c:pt idx="196">
                  <c:v>-0.84799999999999998</c:v>
                </c:pt>
                <c:pt idx="197">
                  <c:v>-0.84799999999999998</c:v>
                </c:pt>
                <c:pt idx="198">
                  <c:v>-0.84799999999999998</c:v>
                </c:pt>
                <c:pt idx="199">
                  <c:v>-0.84799999999999998</c:v>
                </c:pt>
                <c:pt idx="200">
                  <c:v>-0.84799999999999998</c:v>
                </c:pt>
                <c:pt idx="201">
                  <c:v>-0.84799999999999998</c:v>
                </c:pt>
                <c:pt idx="202">
                  <c:v>-0.84799999999999998</c:v>
                </c:pt>
                <c:pt idx="203">
                  <c:v>-0.84799999999999998</c:v>
                </c:pt>
                <c:pt idx="204">
                  <c:v>-0.84799999999999998</c:v>
                </c:pt>
                <c:pt idx="205">
                  <c:v>-0.84799999999999998</c:v>
                </c:pt>
                <c:pt idx="206">
                  <c:v>-0.84799999999999998</c:v>
                </c:pt>
                <c:pt idx="207">
                  <c:v>-0.84799999999999998</c:v>
                </c:pt>
                <c:pt idx="208">
                  <c:v>-0.84799999999999998</c:v>
                </c:pt>
                <c:pt idx="209">
                  <c:v>-0.847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80A-4587-ACF0-733A483F7110}"/>
            </c:ext>
          </c:extLst>
        </c:ser>
        <c:ser>
          <c:idx val="3"/>
          <c:order val="3"/>
          <c:tx>
            <c:strRef>
              <c:f>画图!$E$1</c:f>
              <c:strCache>
                <c:ptCount val="1"/>
              </c:strCache>
            </c:strRef>
          </c:tx>
          <c:spPr>
            <a:ln w="19050">
              <a:solidFill>
                <a:srgbClr val="FFB3B3"/>
              </a:solidFill>
            </a:ln>
          </c:spPr>
          <c:marker>
            <c:symbol val="none"/>
          </c:marker>
          <c:cat>
            <c:strRef>
              <c:f>画图!$A$2:$A$211</c:f>
              <c:strCache>
                <c:ptCount val="21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</c:strCache>
            </c:strRef>
          </c:cat>
          <c:val>
            <c:numRef>
              <c:f>画图!$E$2:$E$211</c:f>
              <c:numCache>
                <c:formatCode>General</c:formatCode>
                <c:ptCount val="2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80A-4587-ACF0-733A483F7110}"/>
            </c:ext>
          </c:extLst>
        </c:ser>
        <c:ser>
          <c:idx val="4"/>
          <c:order val="4"/>
          <c:tx>
            <c:strRef>
              <c:f>画图!$F$1</c:f>
              <c:strCache>
                <c:ptCount val="1"/>
              </c:strCache>
            </c:strRef>
          </c:tx>
          <c:spPr>
            <a:ln w="19050">
              <a:solidFill>
                <a:srgbClr val="75C4FF"/>
              </a:solidFill>
              <a:prstDash val="sysDash"/>
            </a:ln>
          </c:spPr>
          <c:marker>
            <c:symbol val="none"/>
          </c:marker>
          <c:cat>
            <c:strRef>
              <c:f>画图!$A$2:$A$211</c:f>
              <c:strCache>
                <c:ptCount val="21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</c:strCache>
            </c:strRef>
          </c:cat>
          <c:val>
            <c:numRef>
              <c:f>画图!$F$2:$F$211</c:f>
              <c:numCache>
                <c:formatCode>General</c:formatCode>
                <c:ptCount val="210"/>
                <c:pt idx="0">
                  <c:v>0.84799999999999998</c:v>
                </c:pt>
                <c:pt idx="1">
                  <c:v>0.84799999999999998</c:v>
                </c:pt>
                <c:pt idx="2">
                  <c:v>0.84799999999999998</c:v>
                </c:pt>
                <c:pt idx="3">
                  <c:v>0.84799999999999998</c:v>
                </c:pt>
                <c:pt idx="4">
                  <c:v>0.84799999999999998</c:v>
                </c:pt>
                <c:pt idx="5">
                  <c:v>0.84799999999999998</c:v>
                </c:pt>
                <c:pt idx="6">
                  <c:v>0.84799999999999998</c:v>
                </c:pt>
                <c:pt idx="7">
                  <c:v>0.84799999999999998</c:v>
                </c:pt>
                <c:pt idx="8">
                  <c:v>0.84799999999999998</c:v>
                </c:pt>
                <c:pt idx="9">
                  <c:v>0.84799999999999998</c:v>
                </c:pt>
                <c:pt idx="10">
                  <c:v>0.84799999999999998</c:v>
                </c:pt>
                <c:pt idx="11">
                  <c:v>0.84799999999999998</c:v>
                </c:pt>
                <c:pt idx="12">
                  <c:v>0.84799999999999998</c:v>
                </c:pt>
                <c:pt idx="13">
                  <c:v>0.84799999999999998</c:v>
                </c:pt>
                <c:pt idx="14">
                  <c:v>0.84799999999999998</c:v>
                </c:pt>
                <c:pt idx="15">
                  <c:v>0.84799999999999998</c:v>
                </c:pt>
                <c:pt idx="16">
                  <c:v>0.84799999999999998</c:v>
                </c:pt>
                <c:pt idx="17">
                  <c:v>0.84799999999999998</c:v>
                </c:pt>
                <c:pt idx="18">
                  <c:v>0.84799999999999998</c:v>
                </c:pt>
                <c:pt idx="19">
                  <c:v>0.84799999999999998</c:v>
                </c:pt>
                <c:pt idx="20">
                  <c:v>0.84799999999999998</c:v>
                </c:pt>
                <c:pt idx="21">
                  <c:v>0.84799999999999998</c:v>
                </c:pt>
                <c:pt idx="22">
                  <c:v>0.84799999999999998</c:v>
                </c:pt>
                <c:pt idx="23">
                  <c:v>0.84799999999999998</c:v>
                </c:pt>
                <c:pt idx="24">
                  <c:v>0.84799999999999998</c:v>
                </c:pt>
                <c:pt idx="25">
                  <c:v>0.84799999999999998</c:v>
                </c:pt>
                <c:pt idx="26">
                  <c:v>0.84799999999999998</c:v>
                </c:pt>
                <c:pt idx="27">
                  <c:v>0.84799999999999998</c:v>
                </c:pt>
                <c:pt idx="28">
                  <c:v>0.84799999999999998</c:v>
                </c:pt>
                <c:pt idx="29">
                  <c:v>0.84799999999999998</c:v>
                </c:pt>
                <c:pt idx="30">
                  <c:v>0.84799999999999998</c:v>
                </c:pt>
                <c:pt idx="31">
                  <c:v>0.84799999999999998</c:v>
                </c:pt>
                <c:pt idx="32">
                  <c:v>0.84799999999999998</c:v>
                </c:pt>
                <c:pt idx="33">
                  <c:v>0.84799999999999998</c:v>
                </c:pt>
                <c:pt idx="34">
                  <c:v>0.84799999999999998</c:v>
                </c:pt>
                <c:pt idx="35">
                  <c:v>0.84799999999999998</c:v>
                </c:pt>
                <c:pt idx="36">
                  <c:v>0.84799999999999998</c:v>
                </c:pt>
                <c:pt idx="37">
                  <c:v>0.84799999999999998</c:v>
                </c:pt>
                <c:pt idx="38">
                  <c:v>0.84799999999999998</c:v>
                </c:pt>
                <c:pt idx="39">
                  <c:v>0.84799999999999998</c:v>
                </c:pt>
                <c:pt idx="40">
                  <c:v>0.84799999999999998</c:v>
                </c:pt>
                <c:pt idx="41">
                  <c:v>0.84799999999999998</c:v>
                </c:pt>
                <c:pt idx="42">
                  <c:v>0.84799999999999998</c:v>
                </c:pt>
                <c:pt idx="43">
                  <c:v>0.84799999999999998</c:v>
                </c:pt>
                <c:pt idx="44">
                  <c:v>0.84799999999999998</c:v>
                </c:pt>
                <c:pt idx="45">
                  <c:v>0.84799999999999998</c:v>
                </c:pt>
                <c:pt idx="46">
                  <c:v>0.84799999999999998</c:v>
                </c:pt>
                <c:pt idx="47">
                  <c:v>0.84799999999999998</c:v>
                </c:pt>
                <c:pt idx="48">
                  <c:v>0.84799999999999998</c:v>
                </c:pt>
                <c:pt idx="49">
                  <c:v>0.84799999999999998</c:v>
                </c:pt>
                <c:pt idx="50">
                  <c:v>0.84799999999999998</c:v>
                </c:pt>
                <c:pt idx="51">
                  <c:v>0.84799999999999998</c:v>
                </c:pt>
                <c:pt idx="52">
                  <c:v>0.84799999999999998</c:v>
                </c:pt>
                <c:pt idx="53">
                  <c:v>0.84799999999999998</c:v>
                </c:pt>
                <c:pt idx="54">
                  <c:v>0.84799999999999998</c:v>
                </c:pt>
                <c:pt idx="55">
                  <c:v>0.84799999999999998</c:v>
                </c:pt>
                <c:pt idx="56">
                  <c:v>0.84799999999999998</c:v>
                </c:pt>
                <c:pt idx="57">
                  <c:v>0.84799999999999998</c:v>
                </c:pt>
                <c:pt idx="58">
                  <c:v>0.84799999999999998</c:v>
                </c:pt>
                <c:pt idx="59">
                  <c:v>0.84799999999999998</c:v>
                </c:pt>
                <c:pt idx="60">
                  <c:v>0.84799999999999998</c:v>
                </c:pt>
                <c:pt idx="61">
                  <c:v>0.84799999999999998</c:v>
                </c:pt>
                <c:pt idx="62">
                  <c:v>0.84799999999999998</c:v>
                </c:pt>
                <c:pt idx="63">
                  <c:v>0.84799999999999998</c:v>
                </c:pt>
                <c:pt idx="64">
                  <c:v>0.84799999999999998</c:v>
                </c:pt>
                <c:pt idx="65">
                  <c:v>0.84799999999999998</c:v>
                </c:pt>
                <c:pt idx="66">
                  <c:v>0.84799999999999998</c:v>
                </c:pt>
                <c:pt idx="67">
                  <c:v>0.84799999999999998</c:v>
                </c:pt>
                <c:pt idx="68">
                  <c:v>0.84799999999999998</c:v>
                </c:pt>
                <c:pt idx="69">
                  <c:v>0.84799999999999998</c:v>
                </c:pt>
                <c:pt idx="70">
                  <c:v>0.84799999999999998</c:v>
                </c:pt>
                <c:pt idx="71">
                  <c:v>0.84799999999999998</c:v>
                </c:pt>
                <c:pt idx="72">
                  <c:v>0.84799999999999998</c:v>
                </c:pt>
                <c:pt idx="73">
                  <c:v>0.84799999999999998</c:v>
                </c:pt>
                <c:pt idx="74">
                  <c:v>0.84799999999999998</c:v>
                </c:pt>
                <c:pt idx="75">
                  <c:v>0.84799999999999998</c:v>
                </c:pt>
                <c:pt idx="76">
                  <c:v>0.84799999999999998</c:v>
                </c:pt>
                <c:pt idx="77">
                  <c:v>0.84799999999999998</c:v>
                </c:pt>
                <c:pt idx="78">
                  <c:v>0.84799999999999998</c:v>
                </c:pt>
                <c:pt idx="79">
                  <c:v>0.84799999999999998</c:v>
                </c:pt>
                <c:pt idx="80">
                  <c:v>0.84799999999999998</c:v>
                </c:pt>
                <c:pt idx="81">
                  <c:v>0.84799999999999998</c:v>
                </c:pt>
                <c:pt idx="82">
                  <c:v>0.84799999999999998</c:v>
                </c:pt>
                <c:pt idx="83">
                  <c:v>0.84799999999999998</c:v>
                </c:pt>
                <c:pt idx="84">
                  <c:v>0.84799999999999998</c:v>
                </c:pt>
                <c:pt idx="85">
                  <c:v>0.84799999999999998</c:v>
                </c:pt>
                <c:pt idx="86">
                  <c:v>0.84799999999999998</c:v>
                </c:pt>
                <c:pt idx="87">
                  <c:v>0.84799999999999998</c:v>
                </c:pt>
                <c:pt idx="88">
                  <c:v>0.84799999999999998</c:v>
                </c:pt>
                <c:pt idx="89">
                  <c:v>0.84799999999999998</c:v>
                </c:pt>
                <c:pt idx="90">
                  <c:v>0.84799999999999998</c:v>
                </c:pt>
                <c:pt idx="91">
                  <c:v>0.84799999999999998</c:v>
                </c:pt>
                <c:pt idx="92">
                  <c:v>0.84799999999999998</c:v>
                </c:pt>
                <c:pt idx="93">
                  <c:v>0.84799999999999998</c:v>
                </c:pt>
                <c:pt idx="94">
                  <c:v>0.84799999999999998</c:v>
                </c:pt>
                <c:pt idx="95">
                  <c:v>0.84799999999999998</c:v>
                </c:pt>
                <c:pt idx="96">
                  <c:v>0.84799999999999998</c:v>
                </c:pt>
                <c:pt idx="97">
                  <c:v>0.84799999999999998</c:v>
                </c:pt>
                <c:pt idx="98">
                  <c:v>0.84799999999999998</c:v>
                </c:pt>
                <c:pt idx="99">
                  <c:v>0.84799999999999998</c:v>
                </c:pt>
                <c:pt idx="100">
                  <c:v>0.84799999999999998</c:v>
                </c:pt>
                <c:pt idx="101">
                  <c:v>0.84799999999999998</c:v>
                </c:pt>
                <c:pt idx="102">
                  <c:v>0.84799999999999998</c:v>
                </c:pt>
                <c:pt idx="103">
                  <c:v>0.84799999999999998</c:v>
                </c:pt>
                <c:pt idx="104">
                  <c:v>0.84799999999999998</c:v>
                </c:pt>
                <c:pt idx="105">
                  <c:v>0.84799999999999998</c:v>
                </c:pt>
                <c:pt idx="106">
                  <c:v>0.84799999999999998</c:v>
                </c:pt>
                <c:pt idx="107">
                  <c:v>0.84799999999999998</c:v>
                </c:pt>
                <c:pt idx="108">
                  <c:v>0.84799999999999998</c:v>
                </c:pt>
                <c:pt idx="109">
                  <c:v>0.84799999999999998</c:v>
                </c:pt>
                <c:pt idx="110">
                  <c:v>0.84799999999999998</c:v>
                </c:pt>
                <c:pt idx="111">
                  <c:v>0.84799999999999998</c:v>
                </c:pt>
                <c:pt idx="112">
                  <c:v>0.84799999999999998</c:v>
                </c:pt>
                <c:pt idx="113">
                  <c:v>0.84799999999999998</c:v>
                </c:pt>
                <c:pt idx="114">
                  <c:v>0.84799999999999998</c:v>
                </c:pt>
                <c:pt idx="115">
                  <c:v>0.84799999999999998</c:v>
                </c:pt>
                <c:pt idx="116">
                  <c:v>0.84799999999999998</c:v>
                </c:pt>
                <c:pt idx="117">
                  <c:v>0.84799999999999998</c:v>
                </c:pt>
                <c:pt idx="118">
                  <c:v>0.84799999999999998</c:v>
                </c:pt>
                <c:pt idx="119">
                  <c:v>0.84799999999999998</c:v>
                </c:pt>
                <c:pt idx="120">
                  <c:v>0.84799999999999998</c:v>
                </c:pt>
                <c:pt idx="121">
                  <c:v>0.84799999999999998</c:v>
                </c:pt>
                <c:pt idx="122">
                  <c:v>0.84799999999999998</c:v>
                </c:pt>
                <c:pt idx="123">
                  <c:v>0.84799999999999998</c:v>
                </c:pt>
                <c:pt idx="124">
                  <c:v>0.84799999999999998</c:v>
                </c:pt>
                <c:pt idx="125">
                  <c:v>0.84799999999999998</c:v>
                </c:pt>
                <c:pt idx="126">
                  <c:v>0.84799999999999998</c:v>
                </c:pt>
                <c:pt idx="127">
                  <c:v>0.84799999999999998</c:v>
                </c:pt>
                <c:pt idx="128">
                  <c:v>0.84799999999999998</c:v>
                </c:pt>
                <c:pt idx="129">
                  <c:v>0.84799999999999998</c:v>
                </c:pt>
                <c:pt idx="130">
                  <c:v>0.84799999999999998</c:v>
                </c:pt>
                <c:pt idx="131">
                  <c:v>0.84799999999999998</c:v>
                </c:pt>
                <c:pt idx="132">
                  <c:v>0.84799999999999998</c:v>
                </c:pt>
                <c:pt idx="133">
                  <c:v>0.84799999999999998</c:v>
                </c:pt>
                <c:pt idx="134">
                  <c:v>0.84799999999999998</c:v>
                </c:pt>
                <c:pt idx="135">
                  <c:v>0.84799999999999998</c:v>
                </c:pt>
                <c:pt idx="136">
                  <c:v>0.84799999999999998</c:v>
                </c:pt>
                <c:pt idx="137">
                  <c:v>0.84799999999999998</c:v>
                </c:pt>
                <c:pt idx="138">
                  <c:v>0.84799999999999998</c:v>
                </c:pt>
                <c:pt idx="139">
                  <c:v>0.84799999999999998</c:v>
                </c:pt>
                <c:pt idx="140">
                  <c:v>0.84799999999999998</c:v>
                </c:pt>
                <c:pt idx="141">
                  <c:v>0.84799999999999998</c:v>
                </c:pt>
                <c:pt idx="142">
                  <c:v>0.84799999999999998</c:v>
                </c:pt>
                <c:pt idx="143">
                  <c:v>0.84799999999999998</c:v>
                </c:pt>
                <c:pt idx="144">
                  <c:v>0.84799999999999998</c:v>
                </c:pt>
                <c:pt idx="145">
                  <c:v>0.84799999999999998</c:v>
                </c:pt>
                <c:pt idx="146">
                  <c:v>0.84799999999999998</c:v>
                </c:pt>
                <c:pt idx="147">
                  <c:v>0.84799999999999998</c:v>
                </c:pt>
                <c:pt idx="148">
                  <c:v>0.84799999999999998</c:v>
                </c:pt>
                <c:pt idx="149">
                  <c:v>0.84799999999999998</c:v>
                </c:pt>
                <c:pt idx="150">
                  <c:v>0.84799999999999998</c:v>
                </c:pt>
                <c:pt idx="151">
                  <c:v>0.84799999999999998</c:v>
                </c:pt>
                <c:pt idx="152">
                  <c:v>0.84799999999999998</c:v>
                </c:pt>
                <c:pt idx="153">
                  <c:v>0.84799999999999998</c:v>
                </c:pt>
                <c:pt idx="154">
                  <c:v>0.84799999999999998</c:v>
                </c:pt>
                <c:pt idx="155">
                  <c:v>0.84799999999999998</c:v>
                </c:pt>
                <c:pt idx="156">
                  <c:v>0.84799999999999998</c:v>
                </c:pt>
                <c:pt idx="157">
                  <c:v>0.84799999999999998</c:v>
                </c:pt>
                <c:pt idx="158">
                  <c:v>0.84799999999999998</c:v>
                </c:pt>
                <c:pt idx="159">
                  <c:v>0.84799999999999998</c:v>
                </c:pt>
                <c:pt idx="160">
                  <c:v>0.84799999999999998</c:v>
                </c:pt>
                <c:pt idx="161">
                  <c:v>0.84799999999999998</c:v>
                </c:pt>
                <c:pt idx="162">
                  <c:v>0.84799999999999998</c:v>
                </c:pt>
                <c:pt idx="163">
                  <c:v>0.84799999999999998</c:v>
                </c:pt>
                <c:pt idx="164">
                  <c:v>0.84799999999999998</c:v>
                </c:pt>
                <c:pt idx="165">
                  <c:v>0.84799999999999998</c:v>
                </c:pt>
                <c:pt idx="166">
                  <c:v>0.84799999999999998</c:v>
                </c:pt>
                <c:pt idx="167">
                  <c:v>0.84799999999999998</c:v>
                </c:pt>
                <c:pt idx="168">
                  <c:v>0.84799999999999998</c:v>
                </c:pt>
                <c:pt idx="169">
                  <c:v>0.84799999999999998</c:v>
                </c:pt>
                <c:pt idx="170">
                  <c:v>0.84799999999999998</c:v>
                </c:pt>
                <c:pt idx="171">
                  <c:v>0.84799999999999998</c:v>
                </c:pt>
                <c:pt idx="172">
                  <c:v>0.84799999999999998</c:v>
                </c:pt>
                <c:pt idx="173">
                  <c:v>0.84799999999999998</c:v>
                </c:pt>
                <c:pt idx="174">
                  <c:v>0.84799999999999998</c:v>
                </c:pt>
                <c:pt idx="175">
                  <c:v>0.84799999999999998</c:v>
                </c:pt>
                <c:pt idx="176">
                  <c:v>0.84799999999999998</c:v>
                </c:pt>
                <c:pt idx="177">
                  <c:v>0.84799999999999998</c:v>
                </c:pt>
                <c:pt idx="178">
                  <c:v>0.84799999999999998</c:v>
                </c:pt>
                <c:pt idx="179">
                  <c:v>0.84799999999999998</c:v>
                </c:pt>
                <c:pt idx="180">
                  <c:v>0.84799999999999998</c:v>
                </c:pt>
                <c:pt idx="181">
                  <c:v>0.84799999999999998</c:v>
                </c:pt>
                <c:pt idx="182">
                  <c:v>0.84799999999999998</c:v>
                </c:pt>
                <c:pt idx="183">
                  <c:v>0.84799999999999998</c:v>
                </c:pt>
                <c:pt idx="184">
                  <c:v>0.84799999999999998</c:v>
                </c:pt>
                <c:pt idx="185">
                  <c:v>0.84799999999999998</c:v>
                </c:pt>
                <c:pt idx="186">
                  <c:v>0.84799999999999998</c:v>
                </c:pt>
                <c:pt idx="187">
                  <c:v>0.84799999999999998</c:v>
                </c:pt>
                <c:pt idx="188">
                  <c:v>0.84799999999999998</c:v>
                </c:pt>
                <c:pt idx="189">
                  <c:v>0.84799999999999998</c:v>
                </c:pt>
                <c:pt idx="190">
                  <c:v>0.84799999999999998</c:v>
                </c:pt>
                <c:pt idx="191">
                  <c:v>0.84799999999999998</c:v>
                </c:pt>
                <c:pt idx="192">
                  <c:v>0.84799999999999998</c:v>
                </c:pt>
                <c:pt idx="193">
                  <c:v>0.84799999999999998</c:v>
                </c:pt>
                <c:pt idx="194">
                  <c:v>0.84799999999999998</c:v>
                </c:pt>
                <c:pt idx="195">
                  <c:v>0.84799999999999998</c:v>
                </c:pt>
                <c:pt idx="196">
                  <c:v>0.84799999999999998</c:v>
                </c:pt>
                <c:pt idx="197">
                  <c:v>0.84799999999999998</c:v>
                </c:pt>
                <c:pt idx="198">
                  <c:v>0.84799999999999998</c:v>
                </c:pt>
                <c:pt idx="199">
                  <c:v>0.84799999999999998</c:v>
                </c:pt>
                <c:pt idx="200">
                  <c:v>0.84799999999999998</c:v>
                </c:pt>
                <c:pt idx="201">
                  <c:v>0.84799999999999998</c:v>
                </c:pt>
                <c:pt idx="202">
                  <c:v>0.84799999999999998</c:v>
                </c:pt>
                <c:pt idx="203">
                  <c:v>0.84799999999999998</c:v>
                </c:pt>
                <c:pt idx="204">
                  <c:v>0.84799999999999998</c:v>
                </c:pt>
                <c:pt idx="205">
                  <c:v>0.84799999999999998</c:v>
                </c:pt>
                <c:pt idx="206">
                  <c:v>0.84799999999999998</c:v>
                </c:pt>
                <c:pt idx="207">
                  <c:v>0.84799999999999998</c:v>
                </c:pt>
                <c:pt idx="208">
                  <c:v>0.84799999999999998</c:v>
                </c:pt>
                <c:pt idx="209">
                  <c:v>0.847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80A-4587-ACF0-733A483F7110}"/>
            </c:ext>
          </c:extLst>
        </c:ser>
        <c:ser>
          <c:idx val="5"/>
          <c:order val="5"/>
          <c:tx>
            <c:strRef>
              <c:f>画图!$G$1</c:f>
              <c:strCache>
                <c:ptCount val="1"/>
              </c:strCache>
            </c:strRef>
          </c:tx>
          <c:spPr>
            <a:ln w="19050">
              <a:solidFill>
                <a:srgbClr val="878787"/>
              </a:solidFill>
              <a:prstDash val="sysDash"/>
            </a:ln>
          </c:spPr>
          <c:marker>
            <c:symbol val="none"/>
          </c:marker>
          <c:cat>
            <c:strRef>
              <c:f>画图!$A$2:$A$211</c:f>
              <c:strCache>
                <c:ptCount val="21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</c:strCache>
            </c:strRef>
          </c:cat>
          <c:val>
            <c:numRef>
              <c:f>画图!$G$2:$G$211</c:f>
              <c:numCache>
                <c:formatCode>General</c:formatCode>
                <c:ptCount val="210"/>
                <c:pt idx="0">
                  <c:v>1.696</c:v>
                </c:pt>
                <c:pt idx="1">
                  <c:v>1.696</c:v>
                </c:pt>
                <c:pt idx="2">
                  <c:v>1.696</c:v>
                </c:pt>
                <c:pt idx="3">
                  <c:v>1.696</c:v>
                </c:pt>
                <c:pt idx="4">
                  <c:v>1.696</c:v>
                </c:pt>
                <c:pt idx="5">
                  <c:v>1.696</c:v>
                </c:pt>
                <c:pt idx="6">
                  <c:v>1.696</c:v>
                </c:pt>
                <c:pt idx="7">
                  <c:v>1.696</c:v>
                </c:pt>
                <c:pt idx="8">
                  <c:v>1.696</c:v>
                </c:pt>
                <c:pt idx="9">
                  <c:v>1.696</c:v>
                </c:pt>
                <c:pt idx="10">
                  <c:v>1.696</c:v>
                </c:pt>
                <c:pt idx="11">
                  <c:v>1.696</c:v>
                </c:pt>
                <c:pt idx="12">
                  <c:v>1.696</c:v>
                </c:pt>
                <c:pt idx="13">
                  <c:v>1.696</c:v>
                </c:pt>
                <c:pt idx="14">
                  <c:v>1.696</c:v>
                </c:pt>
                <c:pt idx="15">
                  <c:v>1.696</c:v>
                </c:pt>
                <c:pt idx="16">
                  <c:v>1.696</c:v>
                </c:pt>
                <c:pt idx="17">
                  <c:v>1.696</c:v>
                </c:pt>
                <c:pt idx="18">
                  <c:v>1.696</c:v>
                </c:pt>
                <c:pt idx="19">
                  <c:v>1.696</c:v>
                </c:pt>
                <c:pt idx="20">
                  <c:v>1.696</c:v>
                </c:pt>
                <c:pt idx="21">
                  <c:v>1.696</c:v>
                </c:pt>
                <c:pt idx="22">
                  <c:v>1.696</c:v>
                </c:pt>
                <c:pt idx="23">
                  <c:v>1.696</c:v>
                </c:pt>
                <c:pt idx="24">
                  <c:v>1.696</c:v>
                </c:pt>
                <c:pt idx="25">
                  <c:v>1.696</c:v>
                </c:pt>
                <c:pt idx="26">
                  <c:v>1.696</c:v>
                </c:pt>
                <c:pt idx="27">
                  <c:v>1.696</c:v>
                </c:pt>
                <c:pt idx="28">
                  <c:v>1.696</c:v>
                </c:pt>
                <c:pt idx="29">
                  <c:v>1.696</c:v>
                </c:pt>
                <c:pt idx="30">
                  <c:v>1.696</c:v>
                </c:pt>
                <c:pt idx="31">
                  <c:v>1.696</c:v>
                </c:pt>
                <c:pt idx="32">
                  <c:v>1.696</c:v>
                </c:pt>
                <c:pt idx="33">
                  <c:v>1.696</c:v>
                </c:pt>
                <c:pt idx="34">
                  <c:v>1.696</c:v>
                </c:pt>
                <c:pt idx="35">
                  <c:v>1.696</c:v>
                </c:pt>
                <c:pt idx="36">
                  <c:v>1.696</c:v>
                </c:pt>
                <c:pt idx="37">
                  <c:v>1.696</c:v>
                </c:pt>
                <c:pt idx="38">
                  <c:v>1.696</c:v>
                </c:pt>
                <c:pt idx="39">
                  <c:v>1.696</c:v>
                </c:pt>
                <c:pt idx="40">
                  <c:v>1.696</c:v>
                </c:pt>
                <c:pt idx="41">
                  <c:v>1.696</c:v>
                </c:pt>
                <c:pt idx="42">
                  <c:v>1.696</c:v>
                </c:pt>
                <c:pt idx="43">
                  <c:v>1.696</c:v>
                </c:pt>
                <c:pt idx="44">
                  <c:v>1.696</c:v>
                </c:pt>
                <c:pt idx="45">
                  <c:v>1.696</c:v>
                </c:pt>
                <c:pt idx="46">
                  <c:v>1.696</c:v>
                </c:pt>
                <c:pt idx="47">
                  <c:v>1.696</c:v>
                </c:pt>
                <c:pt idx="48">
                  <c:v>1.696</c:v>
                </c:pt>
                <c:pt idx="49">
                  <c:v>1.696</c:v>
                </c:pt>
                <c:pt idx="50">
                  <c:v>1.696</c:v>
                </c:pt>
                <c:pt idx="51">
                  <c:v>1.696</c:v>
                </c:pt>
                <c:pt idx="52">
                  <c:v>1.696</c:v>
                </c:pt>
                <c:pt idx="53">
                  <c:v>1.696</c:v>
                </c:pt>
                <c:pt idx="54">
                  <c:v>1.696</c:v>
                </c:pt>
                <c:pt idx="55">
                  <c:v>1.696</c:v>
                </c:pt>
                <c:pt idx="56">
                  <c:v>1.696</c:v>
                </c:pt>
                <c:pt idx="57">
                  <c:v>1.696</c:v>
                </c:pt>
                <c:pt idx="58">
                  <c:v>1.696</c:v>
                </c:pt>
                <c:pt idx="59">
                  <c:v>1.696</c:v>
                </c:pt>
                <c:pt idx="60">
                  <c:v>1.696</c:v>
                </c:pt>
                <c:pt idx="61">
                  <c:v>1.696</c:v>
                </c:pt>
                <c:pt idx="62">
                  <c:v>1.696</c:v>
                </c:pt>
                <c:pt idx="63">
                  <c:v>1.696</c:v>
                </c:pt>
                <c:pt idx="64">
                  <c:v>1.696</c:v>
                </c:pt>
                <c:pt idx="65">
                  <c:v>1.696</c:v>
                </c:pt>
                <c:pt idx="66">
                  <c:v>1.696</c:v>
                </c:pt>
                <c:pt idx="67">
                  <c:v>1.696</c:v>
                </c:pt>
                <c:pt idx="68">
                  <c:v>1.696</c:v>
                </c:pt>
                <c:pt idx="69">
                  <c:v>1.696</c:v>
                </c:pt>
                <c:pt idx="70">
                  <c:v>1.696</c:v>
                </c:pt>
                <c:pt idx="71">
                  <c:v>1.696</c:v>
                </c:pt>
                <c:pt idx="72">
                  <c:v>1.696</c:v>
                </c:pt>
                <c:pt idx="73">
                  <c:v>1.696</c:v>
                </c:pt>
                <c:pt idx="74">
                  <c:v>1.696</c:v>
                </c:pt>
                <c:pt idx="75">
                  <c:v>1.696</c:v>
                </c:pt>
                <c:pt idx="76">
                  <c:v>1.696</c:v>
                </c:pt>
                <c:pt idx="77">
                  <c:v>1.696</c:v>
                </c:pt>
                <c:pt idx="78">
                  <c:v>1.696</c:v>
                </c:pt>
                <c:pt idx="79">
                  <c:v>1.696</c:v>
                </c:pt>
                <c:pt idx="80">
                  <c:v>1.696</c:v>
                </c:pt>
                <c:pt idx="81">
                  <c:v>1.696</c:v>
                </c:pt>
                <c:pt idx="82">
                  <c:v>1.696</c:v>
                </c:pt>
                <c:pt idx="83">
                  <c:v>1.696</c:v>
                </c:pt>
                <c:pt idx="84">
                  <c:v>1.696</c:v>
                </c:pt>
                <c:pt idx="85">
                  <c:v>1.696</c:v>
                </c:pt>
                <c:pt idx="86">
                  <c:v>1.696</c:v>
                </c:pt>
                <c:pt idx="87">
                  <c:v>1.696</c:v>
                </c:pt>
                <c:pt idx="88">
                  <c:v>1.696</c:v>
                </c:pt>
                <c:pt idx="89">
                  <c:v>1.696</c:v>
                </c:pt>
                <c:pt idx="90">
                  <c:v>1.696</c:v>
                </c:pt>
                <c:pt idx="91">
                  <c:v>1.696</c:v>
                </c:pt>
                <c:pt idx="92">
                  <c:v>1.696</c:v>
                </c:pt>
                <c:pt idx="93">
                  <c:v>1.696</c:v>
                </c:pt>
                <c:pt idx="94">
                  <c:v>1.696</c:v>
                </c:pt>
                <c:pt idx="95">
                  <c:v>1.696</c:v>
                </c:pt>
                <c:pt idx="96">
                  <c:v>1.696</c:v>
                </c:pt>
                <c:pt idx="97">
                  <c:v>1.696</c:v>
                </c:pt>
                <c:pt idx="98">
                  <c:v>1.696</c:v>
                </c:pt>
                <c:pt idx="99">
                  <c:v>1.696</c:v>
                </c:pt>
                <c:pt idx="100">
                  <c:v>1.696</c:v>
                </c:pt>
                <c:pt idx="101">
                  <c:v>1.696</c:v>
                </c:pt>
                <c:pt idx="102">
                  <c:v>1.696</c:v>
                </c:pt>
                <c:pt idx="103">
                  <c:v>1.696</c:v>
                </c:pt>
                <c:pt idx="104">
                  <c:v>1.696</c:v>
                </c:pt>
                <c:pt idx="105">
                  <c:v>1.696</c:v>
                </c:pt>
                <c:pt idx="106">
                  <c:v>1.696</c:v>
                </c:pt>
                <c:pt idx="107">
                  <c:v>1.696</c:v>
                </c:pt>
                <c:pt idx="108">
                  <c:v>1.696</c:v>
                </c:pt>
                <c:pt idx="109">
                  <c:v>1.696</c:v>
                </c:pt>
                <c:pt idx="110">
                  <c:v>1.696</c:v>
                </c:pt>
                <c:pt idx="111">
                  <c:v>1.696</c:v>
                </c:pt>
                <c:pt idx="112">
                  <c:v>1.696</c:v>
                </c:pt>
                <c:pt idx="113">
                  <c:v>1.696</c:v>
                </c:pt>
                <c:pt idx="114">
                  <c:v>1.696</c:v>
                </c:pt>
                <c:pt idx="115">
                  <c:v>1.696</c:v>
                </c:pt>
                <c:pt idx="116">
                  <c:v>1.696</c:v>
                </c:pt>
                <c:pt idx="117">
                  <c:v>1.696</c:v>
                </c:pt>
                <c:pt idx="118">
                  <c:v>1.696</c:v>
                </c:pt>
                <c:pt idx="119">
                  <c:v>1.696</c:v>
                </c:pt>
                <c:pt idx="120">
                  <c:v>1.696</c:v>
                </c:pt>
                <c:pt idx="121">
                  <c:v>1.696</c:v>
                </c:pt>
                <c:pt idx="122">
                  <c:v>1.696</c:v>
                </c:pt>
                <c:pt idx="123">
                  <c:v>1.696</c:v>
                </c:pt>
                <c:pt idx="124">
                  <c:v>1.696</c:v>
                </c:pt>
                <c:pt idx="125">
                  <c:v>1.696</c:v>
                </c:pt>
                <c:pt idx="126">
                  <c:v>1.696</c:v>
                </c:pt>
                <c:pt idx="127">
                  <c:v>1.696</c:v>
                </c:pt>
                <c:pt idx="128">
                  <c:v>1.696</c:v>
                </c:pt>
                <c:pt idx="129">
                  <c:v>1.696</c:v>
                </c:pt>
                <c:pt idx="130">
                  <c:v>1.696</c:v>
                </c:pt>
                <c:pt idx="131">
                  <c:v>1.696</c:v>
                </c:pt>
                <c:pt idx="132">
                  <c:v>1.696</c:v>
                </c:pt>
                <c:pt idx="133">
                  <c:v>1.696</c:v>
                </c:pt>
                <c:pt idx="134">
                  <c:v>1.696</c:v>
                </c:pt>
                <c:pt idx="135">
                  <c:v>1.696</c:v>
                </c:pt>
                <c:pt idx="136">
                  <c:v>1.696</c:v>
                </c:pt>
                <c:pt idx="137">
                  <c:v>1.696</c:v>
                </c:pt>
                <c:pt idx="138">
                  <c:v>1.696</c:v>
                </c:pt>
                <c:pt idx="139">
                  <c:v>1.696</c:v>
                </c:pt>
                <c:pt idx="140">
                  <c:v>1.696</c:v>
                </c:pt>
                <c:pt idx="141">
                  <c:v>1.696</c:v>
                </c:pt>
                <c:pt idx="142">
                  <c:v>1.696</c:v>
                </c:pt>
                <c:pt idx="143">
                  <c:v>1.696</c:v>
                </c:pt>
                <c:pt idx="144">
                  <c:v>1.696</c:v>
                </c:pt>
                <c:pt idx="145">
                  <c:v>1.696</c:v>
                </c:pt>
                <c:pt idx="146">
                  <c:v>1.696</c:v>
                </c:pt>
                <c:pt idx="147">
                  <c:v>1.696</c:v>
                </c:pt>
                <c:pt idx="148">
                  <c:v>1.696</c:v>
                </c:pt>
                <c:pt idx="149">
                  <c:v>1.696</c:v>
                </c:pt>
                <c:pt idx="150">
                  <c:v>1.696</c:v>
                </c:pt>
                <c:pt idx="151">
                  <c:v>1.696</c:v>
                </c:pt>
                <c:pt idx="152">
                  <c:v>1.696</c:v>
                </c:pt>
                <c:pt idx="153">
                  <c:v>1.696</c:v>
                </c:pt>
                <c:pt idx="154">
                  <c:v>1.696</c:v>
                </c:pt>
                <c:pt idx="155">
                  <c:v>1.696</c:v>
                </c:pt>
                <c:pt idx="156">
                  <c:v>1.696</c:v>
                </c:pt>
                <c:pt idx="157">
                  <c:v>1.696</c:v>
                </c:pt>
                <c:pt idx="158">
                  <c:v>1.696</c:v>
                </c:pt>
                <c:pt idx="159">
                  <c:v>1.696</c:v>
                </c:pt>
                <c:pt idx="160">
                  <c:v>1.696</c:v>
                </c:pt>
                <c:pt idx="161">
                  <c:v>1.696</c:v>
                </c:pt>
                <c:pt idx="162">
                  <c:v>1.696</c:v>
                </c:pt>
                <c:pt idx="163">
                  <c:v>1.696</c:v>
                </c:pt>
                <c:pt idx="164">
                  <c:v>1.696</c:v>
                </c:pt>
                <c:pt idx="165">
                  <c:v>1.696</c:v>
                </c:pt>
                <c:pt idx="166">
                  <c:v>1.696</c:v>
                </c:pt>
                <c:pt idx="167">
                  <c:v>1.696</c:v>
                </c:pt>
                <c:pt idx="168">
                  <c:v>1.696</c:v>
                </c:pt>
                <c:pt idx="169">
                  <c:v>1.696</c:v>
                </c:pt>
                <c:pt idx="170">
                  <c:v>1.696</c:v>
                </c:pt>
                <c:pt idx="171">
                  <c:v>1.696</c:v>
                </c:pt>
                <c:pt idx="172">
                  <c:v>1.696</c:v>
                </c:pt>
                <c:pt idx="173">
                  <c:v>1.696</c:v>
                </c:pt>
                <c:pt idx="174">
                  <c:v>1.696</c:v>
                </c:pt>
                <c:pt idx="175">
                  <c:v>1.696</c:v>
                </c:pt>
                <c:pt idx="176">
                  <c:v>1.696</c:v>
                </c:pt>
                <c:pt idx="177">
                  <c:v>1.696</c:v>
                </c:pt>
                <c:pt idx="178">
                  <c:v>1.696</c:v>
                </c:pt>
                <c:pt idx="179">
                  <c:v>1.696</c:v>
                </c:pt>
                <c:pt idx="180">
                  <c:v>1.696</c:v>
                </c:pt>
                <c:pt idx="181">
                  <c:v>1.696</c:v>
                </c:pt>
                <c:pt idx="182">
                  <c:v>1.696</c:v>
                </c:pt>
                <c:pt idx="183">
                  <c:v>1.696</c:v>
                </c:pt>
                <c:pt idx="184">
                  <c:v>1.696</c:v>
                </c:pt>
                <c:pt idx="185">
                  <c:v>1.696</c:v>
                </c:pt>
                <c:pt idx="186">
                  <c:v>1.696</c:v>
                </c:pt>
                <c:pt idx="187">
                  <c:v>1.696</c:v>
                </c:pt>
                <c:pt idx="188">
                  <c:v>1.696</c:v>
                </c:pt>
                <c:pt idx="189">
                  <c:v>1.696</c:v>
                </c:pt>
                <c:pt idx="190">
                  <c:v>1.696</c:v>
                </c:pt>
                <c:pt idx="191">
                  <c:v>1.696</c:v>
                </c:pt>
                <c:pt idx="192">
                  <c:v>1.696</c:v>
                </c:pt>
                <c:pt idx="193">
                  <c:v>1.696</c:v>
                </c:pt>
                <c:pt idx="194">
                  <c:v>1.696</c:v>
                </c:pt>
                <c:pt idx="195">
                  <c:v>1.696</c:v>
                </c:pt>
                <c:pt idx="196">
                  <c:v>1.696</c:v>
                </c:pt>
                <c:pt idx="197">
                  <c:v>1.696</c:v>
                </c:pt>
                <c:pt idx="198">
                  <c:v>1.696</c:v>
                </c:pt>
                <c:pt idx="199">
                  <c:v>1.696</c:v>
                </c:pt>
                <c:pt idx="200">
                  <c:v>1.696</c:v>
                </c:pt>
                <c:pt idx="201">
                  <c:v>1.696</c:v>
                </c:pt>
                <c:pt idx="202">
                  <c:v>1.696</c:v>
                </c:pt>
                <c:pt idx="203">
                  <c:v>1.696</c:v>
                </c:pt>
                <c:pt idx="204">
                  <c:v>1.696</c:v>
                </c:pt>
                <c:pt idx="205">
                  <c:v>1.696</c:v>
                </c:pt>
                <c:pt idx="206">
                  <c:v>1.696</c:v>
                </c:pt>
                <c:pt idx="207">
                  <c:v>1.696</c:v>
                </c:pt>
                <c:pt idx="208">
                  <c:v>1.696</c:v>
                </c:pt>
                <c:pt idx="209">
                  <c:v>1.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80A-4587-ACF0-733A483F71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71135744"/>
        <c:axId val="471137280"/>
      </c:lineChart>
      <c:catAx>
        <c:axId val="471135744"/>
        <c:scaling>
          <c:orientation val="minMax"/>
        </c:scaling>
        <c:delete val="0"/>
        <c:axPos val="b"/>
        <c:numFmt formatCode="yyyy\-mm\-dd;@" sourceLinked="0"/>
        <c:majorTickMark val="out"/>
        <c:minorTickMark val="none"/>
        <c:tickLblPos val="low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471137280"/>
        <c:crosses val="autoZero"/>
        <c:auto val="1"/>
        <c:lblAlgn val="ctr"/>
        <c:lblOffset val="100"/>
        <c:noMultiLvlLbl val="1"/>
      </c:catAx>
      <c:valAx>
        <c:axId val="471137280"/>
        <c:scaling>
          <c:orientation val="minMax"/>
          <c:max val="4"/>
          <c:min val="-4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471135744"/>
        <c:crosses val="autoZero"/>
        <c:crossBetween val="between"/>
      </c:valAx>
      <c:spPr>
        <a:noFill/>
        <a:ln w="25400"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00">
          <a:latin typeface="仿宋_GB2312"/>
          <a:ea typeface="仿宋_GB2312"/>
          <a:cs typeface="仿宋_GB2312"/>
        </a:defRPr>
      </a:pPr>
      <a:endParaRPr lang="zh-C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宏观打分历史分位数</c:v>
                </c:pt>
              </c:strCache>
            </c:strRef>
          </c:tx>
          <c:spPr>
            <a:ln w="19050">
              <a:solidFill>
                <a:srgbClr val="0070C0"/>
              </a:solidFill>
            </a:ln>
          </c:spPr>
          <c:marker>
            <c:symbol val="none"/>
          </c:marker>
          <c:cat>
            <c:numRef>
              <c:f>Sheet1!$A$249:$A$294</c:f>
              <c:numCache>
                <c:formatCode>yyyy\-mm\-dd</c:formatCode>
                <c:ptCount val="46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</c:numCache>
            </c:numRef>
          </c:cat>
          <c:val>
            <c:numRef>
              <c:f>Sheet1!$B$249:$B$294</c:f>
              <c:numCache>
                <c:formatCode>0.0%</c:formatCode>
                <c:ptCount val="46"/>
                <c:pt idx="0">
                  <c:v>0.60899999999999999</c:v>
                </c:pt>
                <c:pt idx="1">
                  <c:v>0.55800000000000005</c:v>
                </c:pt>
                <c:pt idx="2">
                  <c:v>0.77300000000000002</c:v>
                </c:pt>
                <c:pt idx="3">
                  <c:v>0.5</c:v>
                </c:pt>
                <c:pt idx="4">
                  <c:v>0.27</c:v>
                </c:pt>
                <c:pt idx="5">
                  <c:v>0.64900000000000002</c:v>
                </c:pt>
                <c:pt idx="6">
                  <c:v>0.70799999999999996</c:v>
                </c:pt>
                <c:pt idx="7">
                  <c:v>0.78400000000000003</c:v>
                </c:pt>
                <c:pt idx="8">
                  <c:v>0.69299999999999995</c:v>
                </c:pt>
                <c:pt idx="9">
                  <c:v>0.2</c:v>
                </c:pt>
                <c:pt idx="10">
                  <c:v>0.17100000000000001</c:v>
                </c:pt>
                <c:pt idx="11">
                  <c:v>0.16</c:v>
                </c:pt>
                <c:pt idx="12">
                  <c:v>0.29499999999999998</c:v>
                </c:pt>
                <c:pt idx="13">
                  <c:v>0.38300000000000001</c:v>
                </c:pt>
                <c:pt idx="14">
                  <c:v>0.7</c:v>
                </c:pt>
                <c:pt idx="15">
                  <c:v>0.66</c:v>
                </c:pt>
                <c:pt idx="16">
                  <c:v>0.68899999999999995</c:v>
                </c:pt>
                <c:pt idx="17">
                  <c:v>0.63500000000000001</c:v>
                </c:pt>
                <c:pt idx="18">
                  <c:v>0.61599999999999999</c:v>
                </c:pt>
                <c:pt idx="19">
                  <c:v>0.81299999999999994</c:v>
                </c:pt>
                <c:pt idx="20">
                  <c:v>0.77700000000000002</c:v>
                </c:pt>
                <c:pt idx="21">
                  <c:v>0.79100000000000004</c:v>
                </c:pt>
                <c:pt idx="22">
                  <c:v>0.76200000000000001</c:v>
                </c:pt>
                <c:pt idx="23">
                  <c:v>0.64200000000000002</c:v>
                </c:pt>
                <c:pt idx="24">
                  <c:v>0.73699999999999999</c:v>
                </c:pt>
                <c:pt idx="25">
                  <c:v>0.65300000000000002</c:v>
                </c:pt>
                <c:pt idx="26">
                  <c:v>0.59799999999999998</c:v>
                </c:pt>
                <c:pt idx="27">
                  <c:v>0.67500000000000004</c:v>
                </c:pt>
                <c:pt idx="28">
                  <c:v>0.71699999999999997</c:v>
                </c:pt>
                <c:pt idx="29">
                  <c:v>0.79300000000000004</c:v>
                </c:pt>
                <c:pt idx="30">
                  <c:v>0.7</c:v>
                </c:pt>
                <c:pt idx="31">
                  <c:v>0.79200000000000004</c:v>
                </c:pt>
                <c:pt idx="32">
                  <c:v>0.83199999999999996</c:v>
                </c:pt>
                <c:pt idx="33">
                  <c:v>0.79600000000000004</c:v>
                </c:pt>
                <c:pt idx="34" formatCode="0.00%">
                  <c:v>0.80700000000000005</c:v>
                </c:pt>
                <c:pt idx="35" formatCode="0.00%">
                  <c:v>0.77300000000000002</c:v>
                </c:pt>
                <c:pt idx="36" formatCode="0.00%">
                  <c:v>0.48699999999999999</c:v>
                </c:pt>
                <c:pt idx="37" formatCode="0.00%">
                  <c:v>0.56999999999999995</c:v>
                </c:pt>
                <c:pt idx="38" formatCode="0.00%">
                  <c:v>0.58499999999999996</c:v>
                </c:pt>
                <c:pt idx="39" formatCode="0.00%">
                  <c:v>0.69</c:v>
                </c:pt>
                <c:pt idx="40" formatCode="0.00%">
                  <c:v>0.623</c:v>
                </c:pt>
                <c:pt idx="41" formatCode="0.00%">
                  <c:v>0.56200000000000006</c:v>
                </c:pt>
                <c:pt idx="42" formatCode="0.00%">
                  <c:v>0.50800000000000001</c:v>
                </c:pt>
                <c:pt idx="43" formatCode="0.00%">
                  <c:v>0.57199999999999995</c:v>
                </c:pt>
                <c:pt idx="44" formatCode="0.00%">
                  <c:v>0.82399999999999995</c:v>
                </c:pt>
                <c:pt idx="45" formatCode="0.00%">
                  <c:v>0.7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657-4EB6-B5A8-7A0C982B65E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90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A$249:$A$294</c:f>
              <c:numCache>
                <c:formatCode>yyyy\-mm\-dd</c:formatCode>
                <c:ptCount val="46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</c:numCache>
            </c:numRef>
          </c:cat>
          <c:val>
            <c:numRef>
              <c:f>Sheet1!$C$249:$C$294</c:f>
              <c:numCache>
                <c:formatCode>0%</c:formatCode>
                <c:ptCount val="4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657-4EB6-B5A8-7A0C982B65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9050">
              <a:solidFill>
                <a:srgbClr val="0D97FF"/>
              </a:solidFill>
            </a:ln>
          </c:spPr>
          <c:marker>
            <c:symbol val="none"/>
          </c:marker>
          <c:cat>
            <c:numRef>
              <c:f>Sheet1!$A$249:$A$294</c:f>
              <c:numCache>
                <c:formatCode>yyyy\-mm\-dd</c:formatCode>
                <c:ptCount val="46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</c:numCache>
            </c:numRef>
          </c:cat>
          <c:val>
            <c:numRef>
              <c:f>Sheet1!$D$249:$D$294</c:f>
              <c:numCache>
                <c:formatCode>0%</c:formatCode>
                <c:ptCount val="46"/>
                <c:pt idx="0">
                  <c:v>0.9</c:v>
                </c:pt>
                <c:pt idx="1">
                  <c:v>0.9</c:v>
                </c:pt>
                <c:pt idx="2">
                  <c:v>0.9</c:v>
                </c:pt>
                <c:pt idx="3">
                  <c:v>0.9</c:v>
                </c:pt>
                <c:pt idx="4">
                  <c:v>0.9</c:v>
                </c:pt>
                <c:pt idx="5">
                  <c:v>0.9</c:v>
                </c:pt>
                <c:pt idx="6">
                  <c:v>0.9</c:v>
                </c:pt>
                <c:pt idx="7">
                  <c:v>0.9</c:v>
                </c:pt>
                <c:pt idx="8">
                  <c:v>0.9</c:v>
                </c:pt>
                <c:pt idx="9">
                  <c:v>0.9</c:v>
                </c:pt>
                <c:pt idx="10">
                  <c:v>0.9</c:v>
                </c:pt>
                <c:pt idx="11">
                  <c:v>0.9</c:v>
                </c:pt>
                <c:pt idx="12">
                  <c:v>0.9</c:v>
                </c:pt>
                <c:pt idx="13">
                  <c:v>0.9</c:v>
                </c:pt>
                <c:pt idx="14">
                  <c:v>0.9</c:v>
                </c:pt>
                <c:pt idx="15">
                  <c:v>0.9</c:v>
                </c:pt>
                <c:pt idx="16">
                  <c:v>0.9</c:v>
                </c:pt>
                <c:pt idx="17">
                  <c:v>0.9</c:v>
                </c:pt>
                <c:pt idx="18">
                  <c:v>0.9</c:v>
                </c:pt>
                <c:pt idx="19">
                  <c:v>0.9</c:v>
                </c:pt>
                <c:pt idx="20">
                  <c:v>0.9</c:v>
                </c:pt>
                <c:pt idx="21">
                  <c:v>0.9</c:v>
                </c:pt>
                <c:pt idx="22">
                  <c:v>0.9</c:v>
                </c:pt>
                <c:pt idx="23">
                  <c:v>0.9</c:v>
                </c:pt>
                <c:pt idx="24">
                  <c:v>0.9</c:v>
                </c:pt>
                <c:pt idx="25">
                  <c:v>0.9</c:v>
                </c:pt>
                <c:pt idx="26">
                  <c:v>0.9</c:v>
                </c:pt>
                <c:pt idx="27">
                  <c:v>0.9</c:v>
                </c:pt>
                <c:pt idx="28">
                  <c:v>0.9</c:v>
                </c:pt>
                <c:pt idx="29">
                  <c:v>0.9</c:v>
                </c:pt>
                <c:pt idx="30">
                  <c:v>0.9</c:v>
                </c:pt>
                <c:pt idx="31">
                  <c:v>0.9</c:v>
                </c:pt>
                <c:pt idx="32">
                  <c:v>0.9</c:v>
                </c:pt>
                <c:pt idx="33">
                  <c:v>0.9</c:v>
                </c:pt>
                <c:pt idx="34">
                  <c:v>0.9</c:v>
                </c:pt>
                <c:pt idx="35">
                  <c:v>0.9</c:v>
                </c:pt>
                <c:pt idx="36">
                  <c:v>0.9</c:v>
                </c:pt>
                <c:pt idx="37">
                  <c:v>0.9</c:v>
                </c:pt>
                <c:pt idx="38">
                  <c:v>0.9</c:v>
                </c:pt>
                <c:pt idx="39">
                  <c:v>0.9</c:v>
                </c:pt>
                <c:pt idx="40">
                  <c:v>0.9</c:v>
                </c:pt>
                <c:pt idx="41">
                  <c:v>0.9</c:v>
                </c:pt>
                <c:pt idx="42">
                  <c:v>0.9</c:v>
                </c:pt>
                <c:pt idx="43">
                  <c:v>0.9</c:v>
                </c:pt>
                <c:pt idx="44">
                  <c:v>0.9</c:v>
                </c:pt>
                <c:pt idx="45">
                  <c:v>0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657-4EB6-B5A8-7A0C982B65E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ln w="19050">
              <a:solidFill>
                <a:srgbClr val="FFB3B3"/>
              </a:solidFill>
            </a:ln>
          </c:spPr>
          <c:marker>
            <c:symbol val="none"/>
          </c:marker>
          <c:cat>
            <c:numRef>
              <c:f>Sheet1!$A$249:$A$294</c:f>
              <c:numCache>
                <c:formatCode>yyyy\-mm\-dd</c:formatCode>
                <c:ptCount val="46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</c:numCache>
            </c:numRef>
          </c:cat>
          <c:val>
            <c:numRef>
              <c:f>Sheet1!$E$249:$E$294</c:f>
              <c:numCache>
                <c:formatCode>0%</c:formatCode>
                <c:ptCount val="46"/>
                <c:pt idx="0">
                  <c:v>0.69</c:v>
                </c:pt>
                <c:pt idx="1">
                  <c:v>0.69</c:v>
                </c:pt>
                <c:pt idx="2">
                  <c:v>0.69</c:v>
                </c:pt>
                <c:pt idx="3">
                  <c:v>0.69</c:v>
                </c:pt>
                <c:pt idx="4">
                  <c:v>0.69</c:v>
                </c:pt>
                <c:pt idx="5">
                  <c:v>0.69</c:v>
                </c:pt>
                <c:pt idx="6">
                  <c:v>0.69</c:v>
                </c:pt>
                <c:pt idx="7">
                  <c:v>0.69</c:v>
                </c:pt>
                <c:pt idx="8">
                  <c:v>0.69</c:v>
                </c:pt>
                <c:pt idx="9">
                  <c:v>0.69</c:v>
                </c:pt>
                <c:pt idx="10">
                  <c:v>0.69</c:v>
                </c:pt>
                <c:pt idx="11">
                  <c:v>0.69</c:v>
                </c:pt>
                <c:pt idx="12">
                  <c:v>0.69</c:v>
                </c:pt>
                <c:pt idx="13">
                  <c:v>0.69</c:v>
                </c:pt>
                <c:pt idx="14">
                  <c:v>0.69</c:v>
                </c:pt>
                <c:pt idx="15">
                  <c:v>0.69</c:v>
                </c:pt>
                <c:pt idx="16">
                  <c:v>0.69</c:v>
                </c:pt>
                <c:pt idx="17">
                  <c:v>0.69</c:v>
                </c:pt>
                <c:pt idx="18">
                  <c:v>0.69</c:v>
                </c:pt>
                <c:pt idx="19">
                  <c:v>0.69</c:v>
                </c:pt>
                <c:pt idx="20">
                  <c:v>0.69</c:v>
                </c:pt>
                <c:pt idx="21">
                  <c:v>0.69</c:v>
                </c:pt>
                <c:pt idx="22">
                  <c:v>0.69</c:v>
                </c:pt>
                <c:pt idx="23">
                  <c:v>0.69</c:v>
                </c:pt>
                <c:pt idx="24">
                  <c:v>0.69</c:v>
                </c:pt>
                <c:pt idx="25">
                  <c:v>0.69</c:v>
                </c:pt>
                <c:pt idx="26">
                  <c:v>0.69</c:v>
                </c:pt>
                <c:pt idx="27">
                  <c:v>0.69</c:v>
                </c:pt>
                <c:pt idx="28">
                  <c:v>0.69</c:v>
                </c:pt>
                <c:pt idx="29">
                  <c:v>0.69</c:v>
                </c:pt>
                <c:pt idx="30">
                  <c:v>0.69</c:v>
                </c:pt>
                <c:pt idx="31">
                  <c:v>0.69</c:v>
                </c:pt>
                <c:pt idx="32">
                  <c:v>0.69</c:v>
                </c:pt>
                <c:pt idx="33">
                  <c:v>0.69</c:v>
                </c:pt>
                <c:pt idx="34">
                  <c:v>0.69</c:v>
                </c:pt>
                <c:pt idx="35">
                  <c:v>0.69</c:v>
                </c:pt>
                <c:pt idx="36">
                  <c:v>0.69</c:v>
                </c:pt>
                <c:pt idx="37">
                  <c:v>0.69</c:v>
                </c:pt>
                <c:pt idx="38">
                  <c:v>0.69</c:v>
                </c:pt>
                <c:pt idx="39">
                  <c:v>0.69</c:v>
                </c:pt>
                <c:pt idx="40">
                  <c:v>0.69</c:v>
                </c:pt>
                <c:pt idx="41">
                  <c:v>0.69</c:v>
                </c:pt>
                <c:pt idx="42">
                  <c:v>0.69</c:v>
                </c:pt>
                <c:pt idx="43">
                  <c:v>0.69</c:v>
                </c:pt>
                <c:pt idx="44">
                  <c:v>0.69</c:v>
                </c:pt>
                <c:pt idx="45">
                  <c:v>0.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657-4EB6-B5A8-7A0C982B65E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19050">
              <a:solidFill>
                <a:srgbClr val="75C4FF"/>
              </a:solidFill>
            </a:ln>
          </c:spPr>
          <c:marker>
            <c:symbol val="none"/>
          </c:marker>
          <c:cat>
            <c:numRef>
              <c:f>Sheet1!$A$249:$A$294</c:f>
              <c:numCache>
                <c:formatCode>yyyy\-mm\-dd</c:formatCode>
                <c:ptCount val="46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</c:numCache>
            </c:numRef>
          </c:cat>
          <c:val>
            <c:numRef>
              <c:f>Sheet1!$F$249:$F$294</c:f>
              <c:numCache>
                <c:formatCode>0.00%</c:formatCode>
                <c:ptCount val="46"/>
                <c:pt idx="0">
                  <c:v>0.36499999999999999</c:v>
                </c:pt>
                <c:pt idx="1">
                  <c:v>0.36499999999999999</c:v>
                </c:pt>
                <c:pt idx="2">
                  <c:v>0.36499999999999999</c:v>
                </c:pt>
                <c:pt idx="3">
                  <c:v>0.36499999999999999</c:v>
                </c:pt>
                <c:pt idx="4">
                  <c:v>0.36499999999999999</c:v>
                </c:pt>
                <c:pt idx="5">
                  <c:v>0.36499999999999999</c:v>
                </c:pt>
                <c:pt idx="6">
                  <c:v>0.36499999999999999</c:v>
                </c:pt>
                <c:pt idx="7">
                  <c:v>0.36499999999999999</c:v>
                </c:pt>
                <c:pt idx="8">
                  <c:v>0.36499999999999999</c:v>
                </c:pt>
                <c:pt idx="9">
                  <c:v>0.36499999999999999</c:v>
                </c:pt>
                <c:pt idx="10">
                  <c:v>0.36499999999999999</c:v>
                </c:pt>
                <c:pt idx="11">
                  <c:v>0.36499999999999999</c:v>
                </c:pt>
                <c:pt idx="12">
                  <c:v>0.36499999999999999</c:v>
                </c:pt>
                <c:pt idx="13">
                  <c:v>0.36499999999999999</c:v>
                </c:pt>
                <c:pt idx="14">
                  <c:v>0.36499999999999999</c:v>
                </c:pt>
                <c:pt idx="15">
                  <c:v>0.36499999999999999</c:v>
                </c:pt>
                <c:pt idx="16">
                  <c:v>0.36499999999999999</c:v>
                </c:pt>
                <c:pt idx="17">
                  <c:v>0.36499999999999999</c:v>
                </c:pt>
                <c:pt idx="18">
                  <c:v>0.36499999999999999</c:v>
                </c:pt>
                <c:pt idx="19">
                  <c:v>0.36499999999999999</c:v>
                </c:pt>
                <c:pt idx="20">
                  <c:v>0.36499999999999999</c:v>
                </c:pt>
                <c:pt idx="21">
                  <c:v>0.36499999999999999</c:v>
                </c:pt>
                <c:pt idx="22">
                  <c:v>0.36499999999999999</c:v>
                </c:pt>
                <c:pt idx="23">
                  <c:v>0.36499999999999999</c:v>
                </c:pt>
                <c:pt idx="24">
                  <c:v>0.36499999999999999</c:v>
                </c:pt>
                <c:pt idx="25">
                  <c:v>0.36499999999999999</c:v>
                </c:pt>
                <c:pt idx="26">
                  <c:v>0.36499999999999999</c:v>
                </c:pt>
                <c:pt idx="27">
                  <c:v>0.36499999999999999</c:v>
                </c:pt>
                <c:pt idx="28">
                  <c:v>0.36499999999999999</c:v>
                </c:pt>
                <c:pt idx="29">
                  <c:v>0.36499999999999999</c:v>
                </c:pt>
                <c:pt idx="30">
                  <c:v>0.36499999999999999</c:v>
                </c:pt>
                <c:pt idx="31">
                  <c:v>0.36499999999999999</c:v>
                </c:pt>
                <c:pt idx="32">
                  <c:v>0.36499999999999999</c:v>
                </c:pt>
                <c:pt idx="33">
                  <c:v>0.36499999999999999</c:v>
                </c:pt>
                <c:pt idx="34">
                  <c:v>0.36499999999999999</c:v>
                </c:pt>
                <c:pt idx="35">
                  <c:v>0.36499999999999999</c:v>
                </c:pt>
                <c:pt idx="36">
                  <c:v>0.36499999999999999</c:v>
                </c:pt>
                <c:pt idx="37">
                  <c:v>0.36499999999999999</c:v>
                </c:pt>
                <c:pt idx="38">
                  <c:v>0.36499999999999999</c:v>
                </c:pt>
                <c:pt idx="39">
                  <c:v>0.36499999999999999</c:v>
                </c:pt>
                <c:pt idx="40">
                  <c:v>0.36499999999999999</c:v>
                </c:pt>
                <c:pt idx="41">
                  <c:v>0.36499999999999999</c:v>
                </c:pt>
                <c:pt idx="42">
                  <c:v>0.36499999999999999</c:v>
                </c:pt>
                <c:pt idx="43">
                  <c:v>0.36499999999999999</c:v>
                </c:pt>
                <c:pt idx="44">
                  <c:v>0.36499999999999999</c:v>
                </c:pt>
                <c:pt idx="45">
                  <c:v>0.364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657-4EB6-B5A8-7A0C982B65E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19050">
              <a:solidFill>
                <a:srgbClr val="878787"/>
              </a:solidFill>
            </a:ln>
          </c:spPr>
          <c:marker>
            <c:symbol val="none"/>
          </c:marker>
          <c:cat>
            <c:numRef>
              <c:f>Sheet1!$A$249:$A$294</c:f>
              <c:numCache>
                <c:formatCode>yyyy\-mm\-dd</c:formatCode>
                <c:ptCount val="46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</c:numCache>
            </c:numRef>
          </c:cat>
          <c:val>
            <c:numRef>
              <c:f>Sheet1!$G$249:$G$294</c:f>
              <c:numCache>
                <c:formatCode>0%</c:formatCode>
                <c:ptCount val="46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2</c:v>
                </c:pt>
                <c:pt idx="9">
                  <c:v>0.2</c:v>
                </c:pt>
                <c:pt idx="10">
                  <c:v>0.2</c:v>
                </c:pt>
                <c:pt idx="11">
                  <c:v>0.2</c:v>
                </c:pt>
                <c:pt idx="12">
                  <c:v>0.2</c:v>
                </c:pt>
                <c:pt idx="13">
                  <c:v>0.2</c:v>
                </c:pt>
                <c:pt idx="14">
                  <c:v>0.2</c:v>
                </c:pt>
                <c:pt idx="15">
                  <c:v>0.2</c:v>
                </c:pt>
                <c:pt idx="16">
                  <c:v>0.2</c:v>
                </c:pt>
                <c:pt idx="17">
                  <c:v>0.2</c:v>
                </c:pt>
                <c:pt idx="18">
                  <c:v>0.2</c:v>
                </c:pt>
                <c:pt idx="19">
                  <c:v>0.2</c:v>
                </c:pt>
                <c:pt idx="20">
                  <c:v>0.2</c:v>
                </c:pt>
                <c:pt idx="21">
                  <c:v>0.2</c:v>
                </c:pt>
                <c:pt idx="22">
                  <c:v>0.2</c:v>
                </c:pt>
                <c:pt idx="23">
                  <c:v>0.2</c:v>
                </c:pt>
                <c:pt idx="24">
                  <c:v>0.2</c:v>
                </c:pt>
                <c:pt idx="25">
                  <c:v>0.2</c:v>
                </c:pt>
                <c:pt idx="26">
                  <c:v>0.2</c:v>
                </c:pt>
                <c:pt idx="27">
                  <c:v>0.2</c:v>
                </c:pt>
                <c:pt idx="28">
                  <c:v>0.2</c:v>
                </c:pt>
                <c:pt idx="29">
                  <c:v>0.2</c:v>
                </c:pt>
                <c:pt idx="30">
                  <c:v>0.2</c:v>
                </c:pt>
                <c:pt idx="31">
                  <c:v>0.2</c:v>
                </c:pt>
                <c:pt idx="32">
                  <c:v>0.2</c:v>
                </c:pt>
                <c:pt idx="33">
                  <c:v>0.2</c:v>
                </c:pt>
                <c:pt idx="34">
                  <c:v>0.2</c:v>
                </c:pt>
                <c:pt idx="35">
                  <c:v>0.2</c:v>
                </c:pt>
                <c:pt idx="36">
                  <c:v>0.2</c:v>
                </c:pt>
                <c:pt idx="37">
                  <c:v>0.2</c:v>
                </c:pt>
                <c:pt idx="38">
                  <c:v>0.2</c:v>
                </c:pt>
                <c:pt idx="39">
                  <c:v>0.2</c:v>
                </c:pt>
                <c:pt idx="40">
                  <c:v>0.2</c:v>
                </c:pt>
                <c:pt idx="41">
                  <c:v>0.2</c:v>
                </c:pt>
                <c:pt idx="42">
                  <c:v>0.2</c:v>
                </c:pt>
                <c:pt idx="43">
                  <c:v>0.2</c:v>
                </c:pt>
                <c:pt idx="44">
                  <c:v>0.2</c:v>
                </c:pt>
                <c:pt idx="45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657-4EB6-B5A8-7A0C982B6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71135744"/>
        <c:axId val="471137280"/>
      </c:lineChart>
      <c:dateAx>
        <c:axId val="471135744"/>
        <c:scaling>
          <c:orientation val="minMax"/>
        </c:scaling>
        <c:delete val="0"/>
        <c:axPos val="b"/>
        <c:numFmt formatCode="yyyy\-mm\-dd" sourceLinked="1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471137280"/>
        <c:crosses val="autoZero"/>
        <c:auto val="1"/>
        <c:lblOffset val="100"/>
        <c:baseTimeUnit val="days"/>
      </c:dateAx>
      <c:valAx>
        <c:axId val="471137280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471135744"/>
        <c:crosses val="autoZero"/>
        <c:crossBetween val="between"/>
      </c:valAx>
      <c:spPr>
        <a:noFill/>
        <a:ln w="25400"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overlay val="0"/>
      <c:spPr>
        <a:ln w="25400">
          <a:noFill/>
        </a:ln>
      </c:spPr>
      <c:txPr>
        <a:bodyPr/>
        <a:lstStyle/>
        <a:p>
          <a:pPr>
            <a:defRPr sz="800" baseline="0">
              <a:solidFill>
                <a:srgbClr val="000000"/>
              </a:solidFill>
              <a:latin typeface="仿宋_GB2312" panose="02010609030101010101" pitchFamily="49" charset="-122"/>
              <a:ea typeface="仿宋_GB2312" panose="02010609030101010101" pitchFamily="49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00">
          <a:latin typeface="仿宋_GB2312"/>
          <a:ea typeface="仿宋_GB2312"/>
          <a:cs typeface="仿宋_GB2312"/>
        </a:defRPr>
      </a:pPr>
      <a:endParaRPr lang="zh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b="1"/>
              <a:t>股票择时模型</a:t>
            </a:r>
            <a:r>
              <a:rPr lang="zh-CN" altLang="en-US" b="1" baseline="0"/>
              <a:t>六维度底层指标   所处历史分位数</a:t>
            </a:r>
            <a:endParaRPr lang="zh-CN" alt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 alt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1843091206336168E-2"/>
          <c:y val="0.19927539074452111"/>
          <c:w val="0.91783630589562093"/>
          <c:h val="0.50508239690333645"/>
        </c:manualLayout>
      </c:layout>
      <c:lineChart>
        <c:grouping val="standard"/>
        <c:varyColors val="0"/>
        <c:ser>
          <c:idx val="5"/>
          <c:order val="0"/>
          <c:tx>
            <c:strRef>
              <c:f>股票择时信号!$AA$7</c:f>
              <c:strCache>
                <c:ptCount val="1"/>
                <c:pt idx="0">
                  <c:v>r00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3</c:f>
              <c:numCache>
                <c:formatCode>yyyy\-mm\-dd</c:formatCode>
                <c:ptCount val="293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</c:numCache>
            </c:numRef>
          </c:cat>
          <c:val>
            <c:numRef>
              <c:f>股票择时信号!$AA$11:$AA$303</c:f>
              <c:numCache>
                <c:formatCode>0.0%</c:formatCode>
                <c:ptCount val="29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.5</c:v>
                </c:pt>
                <c:pt idx="5">
                  <c:v>0</c:v>
                </c:pt>
                <c:pt idx="6">
                  <c:v>0.66600000000000004</c:v>
                </c:pt>
                <c:pt idx="7">
                  <c:v>1</c:v>
                </c:pt>
                <c:pt idx="8">
                  <c:v>0.875</c:v>
                </c:pt>
                <c:pt idx="9">
                  <c:v>0.88800000000000001</c:v>
                </c:pt>
                <c:pt idx="10">
                  <c:v>0.9</c:v>
                </c:pt>
                <c:pt idx="11">
                  <c:v>0.72699999999999998</c:v>
                </c:pt>
                <c:pt idx="12">
                  <c:v>1</c:v>
                </c:pt>
                <c:pt idx="13">
                  <c:v>0.92300000000000004</c:v>
                </c:pt>
                <c:pt idx="14">
                  <c:v>0.92800000000000005</c:v>
                </c:pt>
                <c:pt idx="15">
                  <c:v>0.8</c:v>
                </c:pt>
                <c:pt idx="16">
                  <c:v>0.875</c:v>
                </c:pt>
                <c:pt idx="17">
                  <c:v>0.82299999999999995</c:v>
                </c:pt>
                <c:pt idx="18">
                  <c:v>0.66600000000000004</c:v>
                </c:pt>
                <c:pt idx="19">
                  <c:v>0.78900000000000003</c:v>
                </c:pt>
                <c:pt idx="20">
                  <c:v>0.7</c:v>
                </c:pt>
                <c:pt idx="21">
                  <c:v>0.95199999999999996</c:v>
                </c:pt>
                <c:pt idx="22">
                  <c:v>0.45400000000000001</c:v>
                </c:pt>
                <c:pt idx="23">
                  <c:v>0.95599999999999996</c:v>
                </c:pt>
                <c:pt idx="24">
                  <c:v>0.625</c:v>
                </c:pt>
                <c:pt idx="25">
                  <c:v>0.96</c:v>
                </c:pt>
                <c:pt idx="26">
                  <c:v>0.61499999999999999</c:v>
                </c:pt>
                <c:pt idx="27">
                  <c:v>0.629</c:v>
                </c:pt>
                <c:pt idx="28">
                  <c:v>0.78500000000000003</c:v>
                </c:pt>
                <c:pt idx="29">
                  <c:v>1</c:v>
                </c:pt>
                <c:pt idx="30">
                  <c:v>0.433</c:v>
                </c:pt>
                <c:pt idx="31">
                  <c:v>0.96699999999999997</c:v>
                </c:pt>
                <c:pt idx="32">
                  <c:v>0.56200000000000006</c:v>
                </c:pt>
                <c:pt idx="33">
                  <c:v>0.33300000000000002</c:v>
                </c:pt>
                <c:pt idx="34">
                  <c:v>0.441</c:v>
                </c:pt>
                <c:pt idx="35">
                  <c:v>1</c:v>
                </c:pt>
                <c:pt idx="36">
                  <c:v>1</c:v>
                </c:pt>
                <c:pt idx="37">
                  <c:v>0.97199999999999998</c:v>
                </c:pt>
                <c:pt idx="38">
                  <c:v>0.23599999999999999</c:v>
                </c:pt>
                <c:pt idx="39">
                  <c:v>0.25600000000000001</c:v>
                </c:pt>
                <c:pt idx="40">
                  <c:v>0.8</c:v>
                </c:pt>
                <c:pt idx="41">
                  <c:v>0.80400000000000005</c:v>
                </c:pt>
                <c:pt idx="42">
                  <c:v>0.95199999999999996</c:v>
                </c:pt>
                <c:pt idx="43">
                  <c:v>0.72</c:v>
                </c:pt>
                <c:pt idx="44">
                  <c:v>0.36299999999999999</c:v>
                </c:pt>
                <c:pt idx="45">
                  <c:v>0.35499999999999998</c:v>
                </c:pt>
                <c:pt idx="46">
                  <c:v>0.63</c:v>
                </c:pt>
                <c:pt idx="47">
                  <c:v>0.59499999999999997</c:v>
                </c:pt>
                <c:pt idx="48">
                  <c:v>0.14499999999999999</c:v>
                </c:pt>
                <c:pt idx="49">
                  <c:v>0.42799999999999999</c:v>
                </c:pt>
                <c:pt idx="50">
                  <c:v>0.22</c:v>
                </c:pt>
                <c:pt idx="51">
                  <c:v>0.76400000000000001</c:v>
                </c:pt>
                <c:pt idx="52">
                  <c:v>0.32600000000000001</c:v>
                </c:pt>
                <c:pt idx="53">
                  <c:v>0.26400000000000001</c:v>
                </c:pt>
                <c:pt idx="54">
                  <c:v>0.40699999999999997</c:v>
                </c:pt>
                <c:pt idx="55">
                  <c:v>0.8</c:v>
                </c:pt>
                <c:pt idx="56">
                  <c:v>0.107</c:v>
                </c:pt>
                <c:pt idx="57">
                  <c:v>0.26300000000000001</c:v>
                </c:pt>
                <c:pt idx="58">
                  <c:v>0.75800000000000001</c:v>
                </c:pt>
                <c:pt idx="59">
                  <c:v>0.67700000000000005</c:v>
                </c:pt>
                <c:pt idx="60">
                  <c:v>0.66600000000000004</c:v>
                </c:pt>
                <c:pt idx="61">
                  <c:v>0.91800000000000004</c:v>
                </c:pt>
                <c:pt idx="62">
                  <c:v>0.53200000000000003</c:v>
                </c:pt>
                <c:pt idx="63">
                  <c:v>0.36499999999999999</c:v>
                </c:pt>
                <c:pt idx="64">
                  <c:v>0.79600000000000004</c:v>
                </c:pt>
                <c:pt idx="65">
                  <c:v>0.153</c:v>
                </c:pt>
                <c:pt idx="66">
                  <c:v>0.33300000000000002</c:v>
                </c:pt>
                <c:pt idx="67">
                  <c:v>0.55200000000000005</c:v>
                </c:pt>
                <c:pt idx="68">
                  <c:v>0.76400000000000001</c:v>
                </c:pt>
                <c:pt idx="69">
                  <c:v>0.52100000000000002</c:v>
                </c:pt>
                <c:pt idx="70">
                  <c:v>0.42799999999999999</c:v>
                </c:pt>
                <c:pt idx="71">
                  <c:v>0.38</c:v>
                </c:pt>
                <c:pt idx="72">
                  <c:v>0.38800000000000001</c:v>
                </c:pt>
                <c:pt idx="73">
                  <c:v>0.32800000000000001</c:v>
                </c:pt>
                <c:pt idx="74">
                  <c:v>0.52700000000000002</c:v>
                </c:pt>
                <c:pt idx="75">
                  <c:v>0.69299999999999995</c:v>
                </c:pt>
                <c:pt idx="76">
                  <c:v>0.53900000000000003</c:v>
                </c:pt>
                <c:pt idx="77">
                  <c:v>0.71399999999999997</c:v>
                </c:pt>
                <c:pt idx="78">
                  <c:v>0.24299999999999999</c:v>
                </c:pt>
                <c:pt idx="79">
                  <c:v>0.48099999999999998</c:v>
                </c:pt>
                <c:pt idx="80">
                  <c:v>0.61199999999999999</c:v>
                </c:pt>
                <c:pt idx="81">
                  <c:v>0.23400000000000001</c:v>
                </c:pt>
                <c:pt idx="82">
                  <c:v>0.621</c:v>
                </c:pt>
                <c:pt idx="83">
                  <c:v>0.48099999999999998</c:v>
                </c:pt>
                <c:pt idx="84">
                  <c:v>0.34499999999999997</c:v>
                </c:pt>
                <c:pt idx="85">
                  <c:v>0.247</c:v>
                </c:pt>
                <c:pt idx="86">
                  <c:v>0.39500000000000002</c:v>
                </c:pt>
                <c:pt idx="87">
                  <c:v>0.31</c:v>
                </c:pt>
                <c:pt idx="88">
                  <c:v>0.55600000000000005</c:v>
                </c:pt>
                <c:pt idx="89">
                  <c:v>0.42599999999999999</c:v>
                </c:pt>
                <c:pt idx="90">
                  <c:v>0.93300000000000005</c:v>
                </c:pt>
                <c:pt idx="91">
                  <c:v>0.17499999999999999</c:v>
                </c:pt>
                <c:pt idx="92">
                  <c:v>0.61899999999999999</c:v>
                </c:pt>
                <c:pt idx="93">
                  <c:v>0.74099999999999999</c:v>
                </c:pt>
                <c:pt idx="94">
                  <c:v>0.70199999999999996</c:v>
                </c:pt>
                <c:pt idx="95">
                  <c:v>0.621</c:v>
                </c:pt>
                <c:pt idx="96">
                  <c:v>0.17699999999999999</c:v>
                </c:pt>
                <c:pt idx="97">
                  <c:v>0.154</c:v>
                </c:pt>
                <c:pt idx="98">
                  <c:v>0.82599999999999996</c:v>
                </c:pt>
                <c:pt idx="99">
                  <c:v>0.28199999999999997</c:v>
                </c:pt>
                <c:pt idx="100">
                  <c:v>0.64</c:v>
                </c:pt>
                <c:pt idx="101">
                  <c:v>0.28699999999999998</c:v>
                </c:pt>
                <c:pt idx="102">
                  <c:v>0.32300000000000001</c:v>
                </c:pt>
                <c:pt idx="103">
                  <c:v>0.504</c:v>
                </c:pt>
                <c:pt idx="104">
                  <c:v>0.17299999999999999</c:v>
                </c:pt>
                <c:pt idx="105">
                  <c:v>9.5000000000000001E-2</c:v>
                </c:pt>
                <c:pt idx="106">
                  <c:v>9.4E-2</c:v>
                </c:pt>
                <c:pt idx="107">
                  <c:v>0.10199999999999999</c:v>
                </c:pt>
                <c:pt idx="108">
                  <c:v>7.3999999999999996E-2</c:v>
                </c:pt>
                <c:pt idx="109">
                  <c:v>9.0999999999999998E-2</c:v>
                </c:pt>
                <c:pt idx="110">
                  <c:v>5.3999999999999999E-2</c:v>
                </c:pt>
                <c:pt idx="111">
                  <c:v>0.108</c:v>
                </c:pt>
                <c:pt idx="112">
                  <c:v>5.2999999999999999E-2</c:v>
                </c:pt>
                <c:pt idx="113">
                  <c:v>6.0999999999999999E-2</c:v>
                </c:pt>
                <c:pt idx="114">
                  <c:v>7.0000000000000007E-2</c:v>
                </c:pt>
                <c:pt idx="115">
                  <c:v>0.34699999999999998</c:v>
                </c:pt>
                <c:pt idx="116">
                  <c:v>0.318</c:v>
                </c:pt>
                <c:pt idx="117">
                  <c:v>3.4000000000000002E-2</c:v>
                </c:pt>
                <c:pt idx="118">
                  <c:v>2.5000000000000001E-2</c:v>
                </c:pt>
                <c:pt idx="119">
                  <c:v>4.2000000000000003E-2</c:v>
                </c:pt>
                <c:pt idx="120">
                  <c:v>0.1</c:v>
                </c:pt>
                <c:pt idx="121">
                  <c:v>5.7000000000000002E-2</c:v>
                </c:pt>
                <c:pt idx="122">
                  <c:v>1.6E-2</c:v>
                </c:pt>
                <c:pt idx="123">
                  <c:v>5.6000000000000001E-2</c:v>
                </c:pt>
                <c:pt idx="124">
                  <c:v>1.6E-2</c:v>
                </c:pt>
                <c:pt idx="125">
                  <c:v>0.08</c:v>
                </c:pt>
                <c:pt idx="126">
                  <c:v>6.3E-2</c:v>
                </c:pt>
                <c:pt idx="127">
                  <c:v>0.11</c:v>
                </c:pt>
                <c:pt idx="128">
                  <c:v>0.16400000000000001</c:v>
                </c:pt>
                <c:pt idx="129">
                  <c:v>0.27100000000000002</c:v>
                </c:pt>
                <c:pt idx="130">
                  <c:v>0.223</c:v>
                </c:pt>
                <c:pt idx="131">
                  <c:v>6.0999999999999999E-2</c:v>
                </c:pt>
                <c:pt idx="132">
                  <c:v>0.121</c:v>
                </c:pt>
                <c:pt idx="133">
                  <c:v>0.67600000000000005</c:v>
                </c:pt>
                <c:pt idx="134">
                  <c:v>0.17899999999999999</c:v>
                </c:pt>
                <c:pt idx="135">
                  <c:v>0.185</c:v>
                </c:pt>
                <c:pt idx="136">
                  <c:v>0.16900000000000001</c:v>
                </c:pt>
                <c:pt idx="137">
                  <c:v>0.379</c:v>
                </c:pt>
                <c:pt idx="138">
                  <c:v>0.46300000000000002</c:v>
                </c:pt>
                <c:pt idx="139">
                  <c:v>0.91300000000000003</c:v>
                </c:pt>
                <c:pt idx="140">
                  <c:v>0.77800000000000002</c:v>
                </c:pt>
                <c:pt idx="141">
                  <c:v>0.27600000000000002</c:v>
                </c:pt>
                <c:pt idx="142">
                  <c:v>0.96399999999999997</c:v>
                </c:pt>
                <c:pt idx="143">
                  <c:v>0.216</c:v>
                </c:pt>
                <c:pt idx="144">
                  <c:v>0.93700000000000006</c:v>
                </c:pt>
                <c:pt idx="145">
                  <c:v>0.62</c:v>
                </c:pt>
                <c:pt idx="146">
                  <c:v>0.35599999999999998</c:v>
                </c:pt>
                <c:pt idx="147">
                  <c:v>0.28499999999999998</c:v>
                </c:pt>
                <c:pt idx="148">
                  <c:v>0.73599999999999999</c:v>
                </c:pt>
                <c:pt idx="149">
                  <c:v>0.94599999999999995</c:v>
                </c:pt>
                <c:pt idx="150">
                  <c:v>0.5</c:v>
                </c:pt>
                <c:pt idx="151">
                  <c:v>0.45600000000000002</c:v>
                </c:pt>
                <c:pt idx="152">
                  <c:v>0.25600000000000001</c:v>
                </c:pt>
                <c:pt idx="153">
                  <c:v>0.72499999999999998</c:v>
                </c:pt>
                <c:pt idx="154">
                  <c:v>0.37</c:v>
                </c:pt>
                <c:pt idx="155">
                  <c:v>0.96099999999999997</c:v>
                </c:pt>
                <c:pt idx="156">
                  <c:v>0.16600000000000001</c:v>
                </c:pt>
                <c:pt idx="157">
                  <c:v>0.35</c:v>
                </c:pt>
                <c:pt idx="158">
                  <c:v>0.76500000000000001</c:v>
                </c:pt>
                <c:pt idx="159">
                  <c:v>0.71</c:v>
                </c:pt>
                <c:pt idx="160">
                  <c:v>0.25600000000000001</c:v>
                </c:pt>
                <c:pt idx="161">
                  <c:v>0.34699999999999998</c:v>
                </c:pt>
                <c:pt idx="162">
                  <c:v>0.185</c:v>
                </c:pt>
                <c:pt idx="163">
                  <c:v>0.214</c:v>
                </c:pt>
                <c:pt idx="164">
                  <c:v>0.54200000000000004</c:v>
                </c:pt>
                <c:pt idx="165">
                  <c:v>0.13300000000000001</c:v>
                </c:pt>
                <c:pt idx="166">
                  <c:v>0.27700000000000002</c:v>
                </c:pt>
                <c:pt idx="167">
                  <c:v>0.311</c:v>
                </c:pt>
                <c:pt idx="168">
                  <c:v>0.95799999999999996</c:v>
                </c:pt>
                <c:pt idx="169">
                  <c:v>0.33100000000000002</c:v>
                </c:pt>
                <c:pt idx="170">
                  <c:v>0.48799999999999999</c:v>
                </c:pt>
                <c:pt idx="171">
                  <c:v>0.28599999999999998</c:v>
                </c:pt>
                <c:pt idx="172">
                  <c:v>0.191</c:v>
                </c:pt>
                <c:pt idx="173">
                  <c:v>0.19</c:v>
                </c:pt>
                <c:pt idx="174">
                  <c:v>0.16</c:v>
                </c:pt>
                <c:pt idx="175">
                  <c:v>0.434</c:v>
                </c:pt>
                <c:pt idx="176">
                  <c:v>0.159</c:v>
                </c:pt>
                <c:pt idx="177">
                  <c:v>0.56999999999999995</c:v>
                </c:pt>
                <c:pt idx="178">
                  <c:v>0.443</c:v>
                </c:pt>
                <c:pt idx="179">
                  <c:v>0.312</c:v>
                </c:pt>
                <c:pt idx="180">
                  <c:v>0.255</c:v>
                </c:pt>
                <c:pt idx="181">
                  <c:v>0.97199999999999998</c:v>
                </c:pt>
                <c:pt idx="182">
                  <c:v>0.95599999999999996</c:v>
                </c:pt>
                <c:pt idx="183">
                  <c:v>0.49099999999999999</c:v>
                </c:pt>
                <c:pt idx="184">
                  <c:v>0.74399999999999999</c:v>
                </c:pt>
                <c:pt idx="185">
                  <c:v>0.89100000000000001</c:v>
                </c:pt>
                <c:pt idx="186">
                  <c:v>0.35399999999999998</c:v>
                </c:pt>
                <c:pt idx="187">
                  <c:v>0.29399999999999998</c:v>
                </c:pt>
                <c:pt idx="188">
                  <c:v>0.65900000000000003</c:v>
                </c:pt>
                <c:pt idx="189">
                  <c:v>0.624</c:v>
                </c:pt>
                <c:pt idx="190">
                  <c:v>0.88400000000000001</c:v>
                </c:pt>
                <c:pt idx="191">
                  <c:v>0.70599999999999996</c:v>
                </c:pt>
                <c:pt idx="192">
                  <c:v>0.68200000000000005</c:v>
                </c:pt>
                <c:pt idx="193">
                  <c:v>0.34100000000000003</c:v>
                </c:pt>
                <c:pt idx="194">
                  <c:v>0.93799999999999994</c:v>
                </c:pt>
                <c:pt idx="195">
                  <c:v>0.22</c:v>
                </c:pt>
                <c:pt idx="196">
                  <c:v>0.65300000000000002</c:v>
                </c:pt>
                <c:pt idx="197">
                  <c:v>0.65400000000000003</c:v>
                </c:pt>
                <c:pt idx="198">
                  <c:v>0.81799999999999995</c:v>
                </c:pt>
                <c:pt idx="199">
                  <c:v>0.60799999999999998</c:v>
                </c:pt>
                <c:pt idx="200">
                  <c:v>0.32</c:v>
                </c:pt>
                <c:pt idx="201">
                  <c:v>0.14899999999999999</c:v>
                </c:pt>
                <c:pt idx="202">
                  <c:v>0.20699999999999999</c:v>
                </c:pt>
                <c:pt idx="203">
                  <c:v>0.29499999999999998</c:v>
                </c:pt>
                <c:pt idx="204">
                  <c:v>0.23</c:v>
                </c:pt>
                <c:pt idx="205">
                  <c:v>0.18</c:v>
                </c:pt>
                <c:pt idx="206">
                  <c:v>0.41699999999999998</c:v>
                </c:pt>
                <c:pt idx="207">
                  <c:v>0.879</c:v>
                </c:pt>
                <c:pt idx="208">
                  <c:v>0.245</c:v>
                </c:pt>
                <c:pt idx="209">
                  <c:v>0.30099999999999999</c:v>
                </c:pt>
                <c:pt idx="210">
                  <c:v>0.504</c:v>
                </c:pt>
                <c:pt idx="211">
                  <c:v>0.27900000000000003</c:v>
                </c:pt>
                <c:pt idx="212">
                  <c:v>0.60799999999999998</c:v>
                </c:pt>
                <c:pt idx="213">
                  <c:v>0.30499999999999999</c:v>
                </c:pt>
                <c:pt idx="214">
                  <c:v>0.126</c:v>
                </c:pt>
                <c:pt idx="215">
                  <c:v>0.14399999999999999</c:v>
                </c:pt>
                <c:pt idx="216">
                  <c:v>0.189</c:v>
                </c:pt>
                <c:pt idx="217">
                  <c:v>0.17</c:v>
                </c:pt>
                <c:pt idx="218">
                  <c:v>0.13300000000000001</c:v>
                </c:pt>
                <c:pt idx="219">
                  <c:v>0.191</c:v>
                </c:pt>
                <c:pt idx="220">
                  <c:v>0.79</c:v>
                </c:pt>
                <c:pt idx="221">
                  <c:v>0.77800000000000002</c:v>
                </c:pt>
                <c:pt idx="222">
                  <c:v>0.28299999999999997</c:v>
                </c:pt>
                <c:pt idx="223">
                  <c:v>0.23300000000000001</c:v>
                </c:pt>
                <c:pt idx="224">
                  <c:v>0.32100000000000001</c:v>
                </c:pt>
                <c:pt idx="225">
                  <c:v>0.26600000000000001</c:v>
                </c:pt>
                <c:pt idx="226">
                  <c:v>0.216</c:v>
                </c:pt>
                <c:pt idx="227">
                  <c:v>0.246</c:v>
                </c:pt>
                <c:pt idx="228">
                  <c:v>0.17899999999999999</c:v>
                </c:pt>
                <c:pt idx="229">
                  <c:v>0.122</c:v>
                </c:pt>
                <c:pt idx="230">
                  <c:v>0.317</c:v>
                </c:pt>
                <c:pt idx="231">
                  <c:v>0.14699999999999999</c:v>
                </c:pt>
                <c:pt idx="232">
                  <c:v>0.185</c:v>
                </c:pt>
                <c:pt idx="233">
                  <c:v>0.35599999999999998</c:v>
                </c:pt>
                <c:pt idx="234">
                  <c:v>9.8000000000000004E-2</c:v>
                </c:pt>
                <c:pt idx="235">
                  <c:v>0.48899999999999999</c:v>
                </c:pt>
                <c:pt idx="236">
                  <c:v>7.5999999999999998E-2</c:v>
                </c:pt>
                <c:pt idx="237">
                  <c:v>0.13</c:v>
                </c:pt>
                <c:pt idx="238">
                  <c:v>0.1</c:v>
                </c:pt>
                <c:pt idx="239">
                  <c:v>0.1</c:v>
                </c:pt>
                <c:pt idx="240">
                  <c:v>0.13700000000000001</c:v>
                </c:pt>
                <c:pt idx="241">
                  <c:v>0.14499999999999999</c:v>
                </c:pt>
                <c:pt idx="242">
                  <c:v>0.24299999999999999</c:v>
                </c:pt>
                <c:pt idx="243">
                  <c:v>0.17199999999999999</c:v>
                </c:pt>
                <c:pt idx="244">
                  <c:v>0.184</c:v>
                </c:pt>
                <c:pt idx="245">
                  <c:v>0.35099999999999998</c:v>
                </c:pt>
                <c:pt idx="246">
                  <c:v>9.7000000000000003E-2</c:v>
                </c:pt>
                <c:pt idx="247">
                  <c:v>0.125</c:v>
                </c:pt>
                <c:pt idx="248">
                  <c:v>0.104</c:v>
                </c:pt>
                <c:pt idx="249">
                  <c:v>0.96299999999999997</c:v>
                </c:pt>
                <c:pt idx="250">
                  <c:v>0.72</c:v>
                </c:pt>
                <c:pt idx="251">
                  <c:v>0.26200000000000001</c:v>
                </c:pt>
                <c:pt idx="252">
                  <c:v>0.14199999999999999</c:v>
                </c:pt>
                <c:pt idx="253">
                  <c:v>0.28399999999999997</c:v>
                </c:pt>
                <c:pt idx="254">
                  <c:v>0.22800000000000001</c:v>
                </c:pt>
                <c:pt idx="255">
                  <c:v>0.67400000000000004</c:v>
                </c:pt>
                <c:pt idx="256">
                  <c:v>0.13200000000000001</c:v>
                </c:pt>
                <c:pt idx="257">
                  <c:v>9.2999999999999999E-2</c:v>
                </c:pt>
                <c:pt idx="258">
                  <c:v>9.2999999999999999E-2</c:v>
                </c:pt>
                <c:pt idx="259">
                  <c:v>0.247</c:v>
                </c:pt>
                <c:pt idx="260">
                  <c:v>0.623</c:v>
                </c:pt>
                <c:pt idx="261">
                  <c:v>0.13</c:v>
                </c:pt>
                <c:pt idx="262">
                  <c:v>0.122</c:v>
                </c:pt>
                <c:pt idx="263">
                  <c:v>9.5000000000000001E-2</c:v>
                </c:pt>
                <c:pt idx="264">
                  <c:v>0.128</c:v>
                </c:pt>
                <c:pt idx="265">
                  <c:v>7.0999999999999994E-2</c:v>
                </c:pt>
                <c:pt idx="266">
                  <c:v>2.1999999999999999E-2</c:v>
                </c:pt>
                <c:pt idx="267">
                  <c:v>5.6000000000000001E-2</c:v>
                </c:pt>
                <c:pt idx="268">
                  <c:v>3.3000000000000002E-2</c:v>
                </c:pt>
                <c:pt idx="269">
                  <c:v>4.8000000000000001E-2</c:v>
                </c:pt>
                <c:pt idx="270">
                  <c:v>2.1999999999999999E-2</c:v>
                </c:pt>
                <c:pt idx="271">
                  <c:v>3.5999999999999997E-2</c:v>
                </c:pt>
                <c:pt idx="272">
                  <c:v>0.04</c:v>
                </c:pt>
                <c:pt idx="273">
                  <c:v>2.5000000000000001E-2</c:v>
                </c:pt>
                <c:pt idx="274">
                  <c:v>0.01</c:v>
                </c:pt>
                <c:pt idx="275">
                  <c:v>0.04</c:v>
                </c:pt>
                <c:pt idx="276">
                  <c:v>0.05</c:v>
                </c:pt>
                <c:pt idx="277">
                  <c:v>0.01</c:v>
                </c:pt>
                <c:pt idx="278">
                  <c:v>3.0000000000000001E-3</c:v>
                </c:pt>
                <c:pt idx="279">
                  <c:v>3.0000000000000001E-3</c:v>
                </c:pt>
                <c:pt idx="280">
                  <c:v>3.9E-2</c:v>
                </c:pt>
                <c:pt idx="281">
                  <c:v>1.7000000000000001E-2</c:v>
                </c:pt>
                <c:pt idx="282">
                  <c:v>2.8000000000000001E-2</c:v>
                </c:pt>
                <c:pt idx="283">
                  <c:v>3.7999999999999999E-2</c:v>
                </c:pt>
                <c:pt idx="284">
                  <c:v>7.0000000000000007E-2</c:v>
                </c:pt>
                <c:pt idx="285">
                  <c:v>0.105</c:v>
                </c:pt>
                <c:pt idx="286">
                  <c:v>0.122</c:v>
                </c:pt>
                <c:pt idx="287">
                  <c:v>4.1000000000000002E-2</c:v>
                </c:pt>
                <c:pt idx="288">
                  <c:v>0.01</c:v>
                </c:pt>
                <c:pt idx="289">
                  <c:v>3.4000000000000002E-2</c:v>
                </c:pt>
                <c:pt idx="290">
                  <c:v>8.8999999999999996E-2</c:v>
                </c:pt>
                <c:pt idx="291">
                  <c:v>4.3999999999999997E-2</c:v>
                </c:pt>
                <c:pt idx="292">
                  <c:v>3.69999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7C9-4AC8-868D-08B3307A4B78}"/>
            </c:ext>
          </c:extLst>
        </c:ser>
        <c:ser>
          <c:idx val="0"/>
          <c:order val="1"/>
          <c:tx>
            <c:strRef>
              <c:f>股票择时信号!$AB$7</c:f>
              <c:strCache>
                <c:ptCount val="1"/>
                <c:pt idx="0">
                  <c:v> 过去12个月滚动新增社融增速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3</c:f>
              <c:numCache>
                <c:formatCode>yyyy\-mm\-dd</c:formatCode>
                <c:ptCount val="293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</c:numCache>
            </c:numRef>
          </c:cat>
          <c:val>
            <c:numRef>
              <c:f>股票择时信号!$AB$11:$AB$303</c:f>
              <c:numCache>
                <c:formatCode>0.0%</c:formatCode>
                <c:ptCount val="29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.83299999999999996</c:v>
                </c:pt>
                <c:pt idx="7">
                  <c:v>0.71399999999999997</c:v>
                </c:pt>
                <c:pt idx="8">
                  <c:v>0.625</c:v>
                </c:pt>
                <c:pt idx="9">
                  <c:v>1</c:v>
                </c:pt>
                <c:pt idx="10">
                  <c:v>0.9</c:v>
                </c:pt>
                <c:pt idx="11">
                  <c:v>0.81799999999999995</c:v>
                </c:pt>
                <c:pt idx="12">
                  <c:v>0.75</c:v>
                </c:pt>
                <c:pt idx="13">
                  <c:v>1</c:v>
                </c:pt>
                <c:pt idx="14">
                  <c:v>0.92800000000000005</c:v>
                </c:pt>
                <c:pt idx="15">
                  <c:v>0.86599999999999999</c:v>
                </c:pt>
                <c:pt idx="16">
                  <c:v>0.81200000000000006</c:v>
                </c:pt>
                <c:pt idx="17">
                  <c:v>0.76400000000000001</c:v>
                </c:pt>
                <c:pt idx="18">
                  <c:v>1</c:v>
                </c:pt>
                <c:pt idx="19">
                  <c:v>0.94699999999999995</c:v>
                </c:pt>
                <c:pt idx="20">
                  <c:v>0.9</c:v>
                </c:pt>
                <c:pt idx="21">
                  <c:v>0.85699999999999998</c:v>
                </c:pt>
                <c:pt idx="22">
                  <c:v>1</c:v>
                </c:pt>
                <c:pt idx="23">
                  <c:v>0.95599999999999996</c:v>
                </c:pt>
                <c:pt idx="24">
                  <c:v>0.91600000000000004</c:v>
                </c:pt>
                <c:pt idx="25">
                  <c:v>0.88</c:v>
                </c:pt>
                <c:pt idx="26">
                  <c:v>0.84599999999999997</c:v>
                </c:pt>
                <c:pt idx="27">
                  <c:v>1</c:v>
                </c:pt>
                <c:pt idx="28">
                  <c:v>0.96399999999999997</c:v>
                </c:pt>
                <c:pt idx="29">
                  <c:v>0.93100000000000005</c:v>
                </c:pt>
                <c:pt idx="30">
                  <c:v>0.9</c:v>
                </c:pt>
                <c:pt idx="31">
                  <c:v>1</c:v>
                </c:pt>
                <c:pt idx="32">
                  <c:v>0.96799999999999997</c:v>
                </c:pt>
                <c:pt idx="33">
                  <c:v>0.93899999999999995</c:v>
                </c:pt>
                <c:pt idx="34">
                  <c:v>0.91100000000000003</c:v>
                </c:pt>
                <c:pt idx="35">
                  <c:v>0.88500000000000001</c:v>
                </c:pt>
                <c:pt idx="36">
                  <c:v>0.86099999999999999</c:v>
                </c:pt>
                <c:pt idx="37">
                  <c:v>0.83699999999999997</c:v>
                </c:pt>
                <c:pt idx="38">
                  <c:v>0.81499999999999995</c:v>
                </c:pt>
                <c:pt idx="39">
                  <c:v>0.79400000000000004</c:v>
                </c:pt>
                <c:pt idx="40">
                  <c:v>0.55000000000000004</c:v>
                </c:pt>
                <c:pt idx="41">
                  <c:v>0.53600000000000003</c:v>
                </c:pt>
                <c:pt idx="42">
                  <c:v>0.52300000000000002</c:v>
                </c:pt>
                <c:pt idx="43">
                  <c:v>0.51100000000000001</c:v>
                </c:pt>
                <c:pt idx="44">
                  <c:v>0.5</c:v>
                </c:pt>
                <c:pt idx="45">
                  <c:v>0.48799999999999999</c:v>
                </c:pt>
                <c:pt idx="46">
                  <c:v>0.47799999999999998</c:v>
                </c:pt>
                <c:pt idx="47">
                  <c:v>0.46800000000000003</c:v>
                </c:pt>
                <c:pt idx="48">
                  <c:v>0.54100000000000004</c:v>
                </c:pt>
                <c:pt idx="49">
                  <c:v>0.53</c:v>
                </c:pt>
                <c:pt idx="50">
                  <c:v>0.52</c:v>
                </c:pt>
                <c:pt idx="51">
                  <c:v>0.50900000000000001</c:v>
                </c:pt>
                <c:pt idx="52">
                  <c:v>0.5</c:v>
                </c:pt>
                <c:pt idx="53">
                  <c:v>9.4E-2</c:v>
                </c:pt>
                <c:pt idx="54">
                  <c:v>9.1999999999999998E-2</c:v>
                </c:pt>
                <c:pt idx="55">
                  <c:v>0.09</c:v>
                </c:pt>
                <c:pt idx="56">
                  <c:v>8.8999999999999996E-2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9.0999999999999998E-2</c:v>
                </c:pt>
                <c:pt idx="88">
                  <c:v>0.09</c:v>
                </c:pt>
                <c:pt idx="89">
                  <c:v>8.8999999999999996E-2</c:v>
                </c:pt>
                <c:pt idx="90">
                  <c:v>8.7999999999999995E-2</c:v>
                </c:pt>
                <c:pt idx="91">
                  <c:v>8.6999999999999994E-2</c:v>
                </c:pt>
                <c:pt idx="92">
                  <c:v>0.19500000000000001</c:v>
                </c:pt>
                <c:pt idx="93">
                  <c:v>0.193</c:v>
                </c:pt>
                <c:pt idx="94">
                  <c:v>0.191</c:v>
                </c:pt>
                <c:pt idx="95">
                  <c:v>0.189</c:v>
                </c:pt>
                <c:pt idx="96">
                  <c:v>0.22900000000000001</c:v>
                </c:pt>
                <c:pt idx="97">
                  <c:v>0.22600000000000001</c:v>
                </c:pt>
                <c:pt idx="98">
                  <c:v>0.224</c:v>
                </c:pt>
                <c:pt idx="99">
                  <c:v>0.222</c:v>
                </c:pt>
                <c:pt idx="100">
                  <c:v>0.13</c:v>
                </c:pt>
                <c:pt idx="101">
                  <c:v>0.128</c:v>
                </c:pt>
                <c:pt idx="102">
                  <c:v>0.127</c:v>
                </c:pt>
                <c:pt idx="103">
                  <c:v>0.126</c:v>
                </c:pt>
                <c:pt idx="104">
                  <c:v>0.125</c:v>
                </c:pt>
                <c:pt idx="105">
                  <c:v>0.33300000000000002</c:v>
                </c:pt>
                <c:pt idx="106">
                  <c:v>0.33</c:v>
                </c:pt>
                <c:pt idx="107">
                  <c:v>0.32700000000000001</c:v>
                </c:pt>
                <c:pt idx="108">
                  <c:v>0.32400000000000001</c:v>
                </c:pt>
                <c:pt idx="109">
                  <c:v>0.40300000000000002</c:v>
                </c:pt>
                <c:pt idx="110">
                  <c:v>0.4</c:v>
                </c:pt>
                <c:pt idx="111">
                  <c:v>0.39600000000000002</c:v>
                </c:pt>
                <c:pt idx="112">
                  <c:v>0.39200000000000002</c:v>
                </c:pt>
                <c:pt idx="113">
                  <c:v>0.46</c:v>
                </c:pt>
                <c:pt idx="114">
                  <c:v>0.45600000000000002</c:v>
                </c:pt>
                <c:pt idx="115">
                  <c:v>0.45200000000000001</c:v>
                </c:pt>
                <c:pt idx="116">
                  <c:v>0.44800000000000001</c:v>
                </c:pt>
                <c:pt idx="117">
                  <c:v>0.44400000000000001</c:v>
                </c:pt>
                <c:pt idx="118">
                  <c:v>0.48299999999999998</c:v>
                </c:pt>
                <c:pt idx="119">
                  <c:v>0.47799999999999998</c:v>
                </c:pt>
                <c:pt idx="120">
                  <c:v>0.47499999999999998</c:v>
                </c:pt>
                <c:pt idx="121">
                  <c:v>0.47099999999999997</c:v>
                </c:pt>
                <c:pt idx="122">
                  <c:v>0.53200000000000003</c:v>
                </c:pt>
                <c:pt idx="123">
                  <c:v>0.52800000000000002</c:v>
                </c:pt>
                <c:pt idx="124">
                  <c:v>0.52400000000000002</c:v>
                </c:pt>
                <c:pt idx="125">
                  <c:v>0.52</c:v>
                </c:pt>
                <c:pt idx="126">
                  <c:v>0.54700000000000004</c:v>
                </c:pt>
                <c:pt idx="127">
                  <c:v>0.54300000000000004</c:v>
                </c:pt>
                <c:pt idx="128">
                  <c:v>0.53900000000000003</c:v>
                </c:pt>
                <c:pt idx="129">
                  <c:v>0.53400000000000003</c:v>
                </c:pt>
                <c:pt idx="130">
                  <c:v>0.53</c:v>
                </c:pt>
                <c:pt idx="131">
                  <c:v>0.60299999999999998</c:v>
                </c:pt>
                <c:pt idx="132">
                  <c:v>0.59799999999999998</c:v>
                </c:pt>
                <c:pt idx="133">
                  <c:v>0.59299999999999997</c:v>
                </c:pt>
                <c:pt idx="134">
                  <c:v>0.58899999999999997</c:v>
                </c:pt>
                <c:pt idx="135">
                  <c:v>0.54800000000000004</c:v>
                </c:pt>
                <c:pt idx="136">
                  <c:v>0.54400000000000004</c:v>
                </c:pt>
                <c:pt idx="137">
                  <c:v>0.54</c:v>
                </c:pt>
                <c:pt idx="138">
                  <c:v>0.53600000000000003</c:v>
                </c:pt>
                <c:pt idx="139">
                  <c:v>0.53200000000000003</c:v>
                </c:pt>
                <c:pt idx="140">
                  <c:v>0.435</c:v>
                </c:pt>
                <c:pt idx="141">
                  <c:v>0.432</c:v>
                </c:pt>
                <c:pt idx="142">
                  <c:v>0.42899999999999999</c:v>
                </c:pt>
                <c:pt idx="143">
                  <c:v>0.42599999999999999</c:v>
                </c:pt>
                <c:pt idx="144">
                  <c:v>0.36099999999999999</c:v>
                </c:pt>
                <c:pt idx="145">
                  <c:v>0.35799999999999998</c:v>
                </c:pt>
                <c:pt idx="146">
                  <c:v>0.35599999999999998</c:v>
                </c:pt>
                <c:pt idx="147">
                  <c:v>0.35299999999999998</c:v>
                </c:pt>
                <c:pt idx="148">
                  <c:v>0.32400000000000001</c:v>
                </c:pt>
                <c:pt idx="149">
                  <c:v>0.32200000000000001</c:v>
                </c:pt>
                <c:pt idx="150">
                  <c:v>0.32</c:v>
                </c:pt>
                <c:pt idx="151">
                  <c:v>0.317</c:v>
                </c:pt>
                <c:pt idx="152">
                  <c:v>0.42699999999999999</c:v>
                </c:pt>
                <c:pt idx="153">
                  <c:v>0.42399999999999999</c:v>
                </c:pt>
                <c:pt idx="154">
                  <c:v>0.42199999999999999</c:v>
                </c:pt>
                <c:pt idx="155">
                  <c:v>0.41899999999999998</c:v>
                </c:pt>
                <c:pt idx="156">
                  <c:v>0.41599999999999998</c:v>
                </c:pt>
                <c:pt idx="157">
                  <c:v>0.38200000000000001</c:v>
                </c:pt>
                <c:pt idx="158">
                  <c:v>0.379</c:v>
                </c:pt>
                <c:pt idx="159">
                  <c:v>0.377</c:v>
                </c:pt>
                <c:pt idx="160">
                  <c:v>0.375</c:v>
                </c:pt>
                <c:pt idx="161">
                  <c:v>0.45900000000000002</c:v>
                </c:pt>
                <c:pt idx="162">
                  <c:v>0.45600000000000002</c:v>
                </c:pt>
                <c:pt idx="163">
                  <c:v>0.45300000000000001</c:v>
                </c:pt>
                <c:pt idx="164">
                  <c:v>0.45100000000000001</c:v>
                </c:pt>
                <c:pt idx="165">
                  <c:v>0.44800000000000001</c:v>
                </c:pt>
                <c:pt idx="166">
                  <c:v>0.33700000000000002</c:v>
                </c:pt>
                <c:pt idx="167">
                  <c:v>0.33500000000000002</c:v>
                </c:pt>
                <c:pt idx="168">
                  <c:v>0.33300000000000002</c:v>
                </c:pt>
                <c:pt idx="169">
                  <c:v>0.33100000000000002</c:v>
                </c:pt>
                <c:pt idx="170">
                  <c:v>0.182</c:v>
                </c:pt>
                <c:pt idx="171">
                  <c:v>0.18099999999999999</c:v>
                </c:pt>
                <c:pt idx="172">
                  <c:v>0.18</c:v>
                </c:pt>
                <c:pt idx="173">
                  <c:v>0.17899999999999999</c:v>
                </c:pt>
                <c:pt idx="174">
                  <c:v>0.17799999999999999</c:v>
                </c:pt>
                <c:pt idx="175">
                  <c:v>0.17699999999999999</c:v>
                </c:pt>
                <c:pt idx="176">
                  <c:v>0.17599999999999999</c:v>
                </c:pt>
                <c:pt idx="177">
                  <c:v>0.17499999999999999</c:v>
                </c:pt>
                <c:pt idx="178">
                  <c:v>0.17399999999999999</c:v>
                </c:pt>
                <c:pt idx="179">
                  <c:v>0.245</c:v>
                </c:pt>
                <c:pt idx="180">
                  <c:v>0.24399999999999999</c:v>
                </c:pt>
                <c:pt idx="181">
                  <c:v>0.24299999999999999</c:v>
                </c:pt>
                <c:pt idx="182">
                  <c:v>0.24099999999999999</c:v>
                </c:pt>
                <c:pt idx="183">
                  <c:v>0.24</c:v>
                </c:pt>
                <c:pt idx="184">
                  <c:v>0.23899999999999999</c:v>
                </c:pt>
                <c:pt idx="185">
                  <c:v>0.23699999999999999</c:v>
                </c:pt>
                <c:pt idx="186">
                  <c:v>0.23599999999999999</c:v>
                </c:pt>
                <c:pt idx="187">
                  <c:v>0.23499999999999999</c:v>
                </c:pt>
                <c:pt idx="188">
                  <c:v>0.39300000000000002</c:v>
                </c:pt>
                <c:pt idx="189">
                  <c:v>0.39100000000000001</c:v>
                </c:pt>
                <c:pt idx="190">
                  <c:v>0.38900000000000001</c:v>
                </c:pt>
                <c:pt idx="191">
                  <c:v>0.38700000000000001</c:v>
                </c:pt>
                <c:pt idx="192">
                  <c:v>0.44700000000000001</c:v>
                </c:pt>
                <c:pt idx="193">
                  <c:v>0.44500000000000001</c:v>
                </c:pt>
                <c:pt idx="194">
                  <c:v>0.443</c:v>
                </c:pt>
                <c:pt idx="195">
                  <c:v>0.441</c:v>
                </c:pt>
                <c:pt idx="196">
                  <c:v>0.55600000000000005</c:v>
                </c:pt>
                <c:pt idx="197">
                  <c:v>0.55300000000000005</c:v>
                </c:pt>
                <c:pt idx="198">
                  <c:v>0.55000000000000004</c:v>
                </c:pt>
                <c:pt idx="199">
                  <c:v>0.54700000000000004</c:v>
                </c:pt>
                <c:pt idx="200">
                  <c:v>0.625</c:v>
                </c:pt>
                <c:pt idx="201">
                  <c:v>0.621</c:v>
                </c:pt>
                <c:pt idx="202">
                  <c:v>0.61799999999999999</c:v>
                </c:pt>
                <c:pt idx="203">
                  <c:v>0.61499999999999999</c:v>
                </c:pt>
                <c:pt idx="204">
                  <c:v>0.61199999999999999</c:v>
                </c:pt>
                <c:pt idx="205">
                  <c:v>0.38</c:v>
                </c:pt>
                <c:pt idx="206">
                  <c:v>0.378</c:v>
                </c:pt>
                <c:pt idx="207">
                  <c:v>0.376</c:v>
                </c:pt>
                <c:pt idx="208">
                  <c:v>0.375</c:v>
                </c:pt>
                <c:pt idx="209">
                  <c:v>0.253</c:v>
                </c:pt>
                <c:pt idx="210">
                  <c:v>0.252</c:v>
                </c:pt>
                <c:pt idx="211">
                  <c:v>0.251</c:v>
                </c:pt>
                <c:pt idx="212">
                  <c:v>0.25</c:v>
                </c:pt>
                <c:pt idx="213">
                  <c:v>0.14499999999999999</c:v>
                </c:pt>
                <c:pt idx="214">
                  <c:v>0.14399999999999999</c:v>
                </c:pt>
                <c:pt idx="215">
                  <c:v>0.14399999999999999</c:v>
                </c:pt>
                <c:pt idx="216">
                  <c:v>0.14299999999999999</c:v>
                </c:pt>
                <c:pt idx="217">
                  <c:v>0.14199999999999999</c:v>
                </c:pt>
                <c:pt idx="218">
                  <c:v>0.30199999999999999</c:v>
                </c:pt>
                <c:pt idx="219">
                  <c:v>0.30099999999999999</c:v>
                </c:pt>
                <c:pt idx="220">
                  <c:v>0.3</c:v>
                </c:pt>
                <c:pt idx="221">
                  <c:v>0.29799999999999999</c:v>
                </c:pt>
                <c:pt idx="222">
                  <c:v>0.35499999999999998</c:v>
                </c:pt>
                <c:pt idx="223">
                  <c:v>0.35399999999999998</c:v>
                </c:pt>
                <c:pt idx="224">
                  <c:v>0.35199999999999998</c:v>
                </c:pt>
                <c:pt idx="225">
                  <c:v>0.35099999999999998</c:v>
                </c:pt>
                <c:pt idx="226">
                  <c:v>0.34899999999999998</c:v>
                </c:pt>
                <c:pt idx="227">
                  <c:v>0.45800000000000002</c:v>
                </c:pt>
                <c:pt idx="228">
                  <c:v>0.45600000000000002</c:v>
                </c:pt>
                <c:pt idx="229">
                  <c:v>0.45400000000000001</c:v>
                </c:pt>
                <c:pt idx="230">
                  <c:v>0.45200000000000001</c:v>
                </c:pt>
                <c:pt idx="231">
                  <c:v>0.34100000000000003</c:v>
                </c:pt>
                <c:pt idx="232">
                  <c:v>0.34</c:v>
                </c:pt>
                <c:pt idx="233">
                  <c:v>0.33900000000000002</c:v>
                </c:pt>
                <c:pt idx="234">
                  <c:v>0.33700000000000002</c:v>
                </c:pt>
                <c:pt idx="235">
                  <c:v>0.33600000000000002</c:v>
                </c:pt>
                <c:pt idx="236">
                  <c:v>0.29599999999999999</c:v>
                </c:pt>
                <c:pt idx="237">
                  <c:v>0.29499999999999998</c:v>
                </c:pt>
                <c:pt idx="238">
                  <c:v>0.29399999999999998</c:v>
                </c:pt>
                <c:pt idx="239">
                  <c:v>0.29199999999999998</c:v>
                </c:pt>
                <c:pt idx="240">
                  <c:v>0.15</c:v>
                </c:pt>
                <c:pt idx="241">
                  <c:v>0.14899999999999999</c:v>
                </c:pt>
                <c:pt idx="242">
                  <c:v>0.14799999999999999</c:v>
                </c:pt>
                <c:pt idx="243">
                  <c:v>0.14799999999999999</c:v>
                </c:pt>
                <c:pt idx="244">
                  <c:v>0.11</c:v>
                </c:pt>
                <c:pt idx="245">
                  <c:v>0.11</c:v>
                </c:pt>
                <c:pt idx="246">
                  <c:v>0.109</c:v>
                </c:pt>
                <c:pt idx="247">
                  <c:v>0.109</c:v>
                </c:pt>
                <c:pt idx="248">
                  <c:v>0.108</c:v>
                </c:pt>
                <c:pt idx="249">
                  <c:v>0.2</c:v>
                </c:pt>
                <c:pt idx="250">
                  <c:v>0.2</c:v>
                </c:pt>
                <c:pt idx="251">
                  <c:v>0.19900000000000001</c:v>
                </c:pt>
                <c:pt idx="252">
                  <c:v>0.19800000000000001</c:v>
                </c:pt>
                <c:pt idx="253">
                  <c:v>0.19700000000000001</c:v>
                </c:pt>
                <c:pt idx="254">
                  <c:v>0.19600000000000001</c:v>
                </c:pt>
                <c:pt idx="255">
                  <c:v>0.19600000000000001</c:v>
                </c:pt>
                <c:pt idx="256">
                  <c:v>0.19500000000000001</c:v>
                </c:pt>
                <c:pt idx="257">
                  <c:v>0.45900000000000002</c:v>
                </c:pt>
                <c:pt idx="258">
                  <c:v>0.45700000000000002</c:v>
                </c:pt>
                <c:pt idx="259">
                  <c:v>0.45500000000000002</c:v>
                </c:pt>
                <c:pt idx="260">
                  <c:v>0.45300000000000001</c:v>
                </c:pt>
                <c:pt idx="261">
                  <c:v>0.55900000000000005</c:v>
                </c:pt>
                <c:pt idx="262">
                  <c:v>0.55700000000000005</c:v>
                </c:pt>
                <c:pt idx="263">
                  <c:v>0.55500000000000005</c:v>
                </c:pt>
                <c:pt idx="264">
                  <c:v>0.55300000000000005</c:v>
                </c:pt>
                <c:pt idx="265">
                  <c:v>0.55000000000000004</c:v>
                </c:pt>
                <c:pt idx="266">
                  <c:v>0.77</c:v>
                </c:pt>
                <c:pt idx="267">
                  <c:v>0.76700000000000002</c:v>
                </c:pt>
                <c:pt idx="268">
                  <c:v>0.76400000000000001</c:v>
                </c:pt>
                <c:pt idx="269">
                  <c:v>0.76200000000000001</c:v>
                </c:pt>
                <c:pt idx="270">
                  <c:v>0.72199999999999998</c:v>
                </c:pt>
                <c:pt idx="271">
                  <c:v>0.71899999999999997</c:v>
                </c:pt>
                <c:pt idx="272">
                  <c:v>0.71599999999999997</c:v>
                </c:pt>
                <c:pt idx="273">
                  <c:v>0.71399999999999997</c:v>
                </c:pt>
                <c:pt idx="274">
                  <c:v>0.71099999999999997</c:v>
                </c:pt>
                <c:pt idx="275">
                  <c:v>0.81</c:v>
                </c:pt>
                <c:pt idx="276">
                  <c:v>0.80700000000000005</c:v>
                </c:pt>
                <c:pt idx="277">
                  <c:v>0.80500000000000005</c:v>
                </c:pt>
                <c:pt idx="278">
                  <c:v>0.80200000000000005</c:v>
                </c:pt>
                <c:pt idx="279">
                  <c:v>0.79900000000000004</c:v>
                </c:pt>
                <c:pt idx="280">
                  <c:v>0.79600000000000004</c:v>
                </c:pt>
                <c:pt idx="281">
                  <c:v>0.79300000000000004</c:v>
                </c:pt>
                <c:pt idx="282">
                  <c:v>0.79</c:v>
                </c:pt>
                <c:pt idx="283">
                  <c:v>0.78700000000000003</c:v>
                </c:pt>
                <c:pt idx="284">
                  <c:v>0.78500000000000003</c:v>
                </c:pt>
                <c:pt idx="285">
                  <c:v>0.78200000000000003</c:v>
                </c:pt>
                <c:pt idx="286">
                  <c:v>0.77900000000000003</c:v>
                </c:pt>
                <c:pt idx="287">
                  <c:v>0.77700000000000002</c:v>
                </c:pt>
                <c:pt idx="288">
                  <c:v>0.79100000000000004</c:v>
                </c:pt>
                <c:pt idx="289">
                  <c:v>0.78800000000000003</c:v>
                </c:pt>
                <c:pt idx="290">
                  <c:v>0.78600000000000003</c:v>
                </c:pt>
                <c:pt idx="291">
                  <c:v>0.78300000000000003</c:v>
                </c:pt>
                <c:pt idx="292">
                  <c:v>0.794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C9-4AC8-868D-08B3307A4B78}"/>
            </c:ext>
          </c:extLst>
        </c:ser>
        <c:ser>
          <c:idx val="1"/>
          <c:order val="2"/>
          <c:tx>
            <c:strRef>
              <c:f>股票择时信号!$AC$7</c:f>
              <c:strCache>
                <c:ptCount val="1"/>
                <c:pt idx="0">
                  <c:v>高频经济指标的环比变化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3</c:f>
              <c:numCache>
                <c:formatCode>yyyy\-mm\-dd</c:formatCode>
                <c:ptCount val="293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</c:numCache>
            </c:numRef>
          </c:cat>
          <c:val>
            <c:numRef>
              <c:f>股票择时信号!$AC$11:$AC$303</c:f>
              <c:numCache>
                <c:formatCode>0.0%</c:formatCode>
                <c:ptCount val="293"/>
                <c:pt idx="0">
                  <c:v>1</c:v>
                </c:pt>
                <c:pt idx="1">
                  <c:v>0</c:v>
                </c:pt>
                <c:pt idx="2">
                  <c:v>0.5</c:v>
                </c:pt>
                <c:pt idx="3">
                  <c:v>0.33300000000000002</c:v>
                </c:pt>
                <c:pt idx="4">
                  <c:v>0.25</c:v>
                </c:pt>
                <c:pt idx="5">
                  <c:v>1</c:v>
                </c:pt>
                <c:pt idx="6">
                  <c:v>0.83299999999999996</c:v>
                </c:pt>
                <c:pt idx="7">
                  <c:v>1</c:v>
                </c:pt>
                <c:pt idx="8">
                  <c:v>1</c:v>
                </c:pt>
                <c:pt idx="9">
                  <c:v>0.33300000000000002</c:v>
                </c:pt>
                <c:pt idx="10">
                  <c:v>0.5</c:v>
                </c:pt>
                <c:pt idx="11">
                  <c:v>0</c:v>
                </c:pt>
                <c:pt idx="12">
                  <c:v>0</c:v>
                </c:pt>
                <c:pt idx="13">
                  <c:v>7.5999999999999998E-2</c:v>
                </c:pt>
                <c:pt idx="14">
                  <c:v>0</c:v>
                </c:pt>
                <c:pt idx="15">
                  <c:v>0.26600000000000001</c:v>
                </c:pt>
                <c:pt idx="16">
                  <c:v>0.125</c:v>
                </c:pt>
                <c:pt idx="17">
                  <c:v>0.41099999999999998</c:v>
                </c:pt>
                <c:pt idx="18">
                  <c:v>0.83299999999999996</c:v>
                </c:pt>
                <c:pt idx="19">
                  <c:v>0.42099999999999999</c:v>
                </c:pt>
                <c:pt idx="20">
                  <c:v>0.3</c:v>
                </c:pt>
                <c:pt idx="21">
                  <c:v>0.38</c:v>
                </c:pt>
                <c:pt idx="22">
                  <c:v>0</c:v>
                </c:pt>
                <c:pt idx="23">
                  <c:v>0.26</c:v>
                </c:pt>
                <c:pt idx="24">
                  <c:v>0.54100000000000004</c:v>
                </c:pt>
                <c:pt idx="25">
                  <c:v>0.76</c:v>
                </c:pt>
                <c:pt idx="26">
                  <c:v>0.5</c:v>
                </c:pt>
                <c:pt idx="27">
                  <c:v>0.222</c:v>
                </c:pt>
                <c:pt idx="28">
                  <c:v>0.107</c:v>
                </c:pt>
                <c:pt idx="29">
                  <c:v>0</c:v>
                </c:pt>
                <c:pt idx="30">
                  <c:v>0.3</c:v>
                </c:pt>
                <c:pt idx="31">
                  <c:v>0.25800000000000001</c:v>
                </c:pt>
                <c:pt idx="32">
                  <c:v>0.187</c:v>
                </c:pt>
                <c:pt idx="33">
                  <c:v>0.09</c:v>
                </c:pt>
                <c:pt idx="34">
                  <c:v>5.8000000000000003E-2</c:v>
                </c:pt>
                <c:pt idx="35">
                  <c:v>8.5000000000000006E-2</c:v>
                </c:pt>
                <c:pt idx="36">
                  <c:v>5.5E-2</c:v>
                </c:pt>
                <c:pt idx="37">
                  <c:v>0.29699999999999999</c:v>
                </c:pt>
                <c:pt idx="38">
                  <c:v>0.57799999999999996</c:v>
                </c:pt>
                <c:pt idx="39">
                  <c:v>0.61499999999999999</c:v>
                </c:pt>
                <c:pt idx="40">
                  <c:v>0.75</c:v>
                </c:pt>
                <c:pt idx="41">
                  <c:v>0.75600000000000001</c:v>
                </c:pt>
                <c:pt idx="42">
                  <c:v>0.83299999999999996</c:v>
                </c:pt>
                <c:pt idx="43">
                  <c:v>0.88300000000000001</c:v>
                </c:pt>
                <c:pt idx="44">
                  <c:v>0.25</c:v>
                </c:pt>
                <c:pt idx="45">
                  <c:v>4.3999999999999997E-2</c:v>
                </c:pt>
                <c:pt idx="46">
                  <c:v>0</c:v>
                </c:pt>
                <c:pt idx="47">
                  <c:v>2.1000000000000001E-2</c:v>
                </c:pt>
                <c:pt idx="48">
                  <c:v>0.375</c:v>
                </c:pt>
                <c:pt idx="49">
                  <c:v>0.65300000000000002</c:v>
                </c:pt>
                <c:pt idx="50">
                  <c:v>0.57999999999999996</c:v>
                </c:pt>
                <c:pt idx="51">
                  <c:v>0.43099999999999999</c:v>
                </c:pt>
                <c:pt idx="52">
                  <c:v>0.53800000000000003</c:v>
                </c:pt>
                <c:pt idx="53">
                  <c:v>0.433</c:v>
                </c:pt>
                <c:pt idx="54">
                  <c:v>0.55500000000000005</c:v>
                </c:pt>
                <c:pt idx="55">
                  <c:v>0.34499999999999997</c:v>
                </c:pt>
                <c:pt idx="56">
                  <c:v>0.30299999999999999</c:v>
                </c:pt>
                <c:pt idx="57">
                  <c:v>0.52600000000000002</c:v>
                </c:pt>
                <c:pt idx="58">
                  <c:v>0.5</c:v>
                </c:pt>
                <c:pt idx="59">
                  <c:v>0.47399999999999998</c:v>
                </c:pt>
                <c:pt idx="60">
                  <c:v>0.45</c:v>
                </c:pt>
                <c:pt idx="61">
                  <c:v>0.18</c:v>
                </c:pt>
                <c:pt idx="62">
                  <c:v>0.14499999999999999</c:v>
                </c:pt>
                <c:pt idx="63">
                  <c:v>0.17399999999999999</c:v>
                </c:pt>
                <c:pt idx="64">
                  <c:v>0.14000000000000001</c:v>
                </c:pt>
                <c:pt idx="65">
                  <c:v>0.2</c:v>
                </c:pt>
                <c:pt idx="66">
                  <c:v>0.378</c:v>
                </c:pt>
                <c:pt idx="67">
                  <c:v>0.52200000000000002</c:v>
                </c:pt>
                <c:pt idx="68">
                  <c:v>0.25</c:v>
                </c:pt>
                <c:pt idx="69">
                  <c:v>0.52100000000000002</c:v>
                </c:pt>
                <c:pt idx="70">
                  <c:v>0.64200000000000002</c:v>
                </c:pt>
                <c:pt idx="71">
                  <c:v>0.36599999999999999</c:v>
                </c:pt>
                <c:pt idx="72">
                  <c:v>0.56899999999999995</c:v>
                </c:pt>
                <c:pt idx="73">
                  <c:v>0.28699999999999998</c:v>
                </c:pt>
                <c:pt idx="74">
                  <c:v>6.7000000000000004E-2</c:v>
                </c:pt>
                <c:pt idx="75">
                  <c:v>0.21299999999999999</c:v>
                </c:pt>
                <c:pt idx="76">
                  <c:v>0.48599999999999999</c:v>
                </c:pt>
                <c:pt idx="77">
                  <c:v>0.67500000000000004</c:v>
                </c:pt>
                <c:pt idx="78">
                  <c:v>0.65300000000000002</c:v>
                </c:pt>
                <c:pt idx="79">
                  <c:v>0.63200000000000001</c:v>
                </c:pt>
                <c:pt idx="80">
                  <c:v>0.32500000000000001</c:v>
                </c:pt>
                <c:pt idx="81">
                  <c:v>0.13500000000000001</c:v>
                </c:pt>
                <c:pt idx="82">
                  <c:v>0.41399999999999998</c:v>
                </c:pt>
                <c:pt idx="83">
                  <c:v>0.216</c:v>
                </c:pt>
                <c:pt idx="84">
                  <c:v>0.51100000000000001</c:v>
                </c:pt>
                <c:pt idx="85">
                  <c:v>0.42299999999999999</c:v>
                </c:pt>
                <c:pt idx="86">
                  <c:v>0.372</c:v>
                </c:pt>
                <c:pt idx="87">
                  <c:v>0.39</c:v>
                </c:pt>
                <c:pt idx="88">
                  <c:v>0.318</c:v>
                </c:pt>
                <c:pt idx="89">
                  <c:v>0.57299999999999995</c:v>
                </c:pt>
                <c:pt idx="90">
                  <c:v>0.34399999999999997</c:v>
                </c:pt>
                <c:pt idx="91">
                  <c:v>0.626</c:v>
                </c:pt>
                <c:pt idx="92">
                  <c:v>0.55400000000000005</c:v>
                </c:pt>
                <c:pt idx="93">
                  <c:v>0.376</c:v>
                </c:pt>
                <c:pt idx="94">
                  <c:v>0.26500000000000001</c:v>
                </c:pt>
                <c:pt idx="95">
                  <c:v>0.30499999999999999</c:v>
                </c:pt>
                <c:pt idx="96">
                  <c:v>0.54100000000000004</c:v>
                </c:pt>
                <c:pt idx="97">
                  <c:v>0.52500000000000002</c:v>
                </c:pt>
                <c:pt idx="98">
                  <c:v>0.622</c:v>
                </c:pt>
                <c:pt idx="99">
                  <c:v>0.434</c:v>
                </c:pt>
                <c:pt idx="100">
                  <c:v>0.14000000000000001</c:v>
                </c:pt>
                <c:pt idx="101">
                  <c:v>6.9000000000000006E-2</c:v>
                </c:pt>
                <c:pt idx="102">
                  <c:v>4.9000000000000002E-2</c:v>
                </c:pt>
                <c:pt idx="103">
                  <c:v>8.6999999999999994E-2</c:v>
                </c:pt>
                <c:pt idx="104">
                  <c:v>6.7000000000000004E-2</c:v>
                </c:pt>
                <c:pt idx="105">
                  <c:v>0.14199999999999999</c:v>
                </c:pt>
                <c:pt idx="106">
                  <c:v>0.32</c:v>
                </c:pt>
                <c:pt idx="107">
                  <c:v>0.308</c:v>
                </c:pt>
                <c:pt idx="108">
                  <c:v>0.70299999999999996</c:v>
                </c:pt>
                <c:pt idx="109">
                  <c:v>0.85299999999999998</c:v>
                </c:pt>
                <c:pt idx="110">
                  <c:v>0.83599999999999997</c:v>
                </c:pt>
                <c:pt idx="111">
                  <c:v>0.81</c:v>
                </c:pt>
                <c:pt idx="112">
                  <c:v>0.84799999999999998</c:v>
                </c:pt>
                <c:pt idx="113">
                  <c:v>0.65400000000000003</c:v>
                </c:pt>
                <c:pt idx="114">
                  <c:v>0.64</c:v>
                </c:pt>
                <c:pt idx="115">
                  <c:v>0.6</c:v>
                </c:pt>
                <c:pt idx="116">
                  <c:v>0.38700000000000001</c:v>
                </c:pt>
                <c:pt idx="117">
                  <c:v>0.32400000000000001</c:v>
                </c:pt>
                <c:pt idx="118">
                  <c:v>0.313</c:v>
                </c:pt>
                <c:pt idx="119">
                  <c:v>0.53700000000000003</c:v>
                </c:pt>
                <c:pt idx="120">
                  <c:v>0.40799999999999997</c:v>
                </c:pt>
                <c:pt idx="121">
                  <c:v>0.74299999999999999</c:v>
                </c:pt>
                <c:pt idx="122">
                  <c:v>0.79500000000000004</c:v>
                </c:pt>
                <c:pt idx="123">
                  <c:v>0.54400000000000004</c:v>
                </c:pt>
                <c:pt idx="124">
                  <c:v>0.20100000000000001</c:v>
                </c:pt>
                <c:pt idx="125">
                  <c:v>0.17599999999999999</c:v>
                </c:pt>
                <c:pt idx="126">
                  <c:v>4.7E-2</c:v>
                </c:pt>
                <c:pt idx="127">
                  <c:v>0.157</c:v>
                </c:pt>
                <c:pt idx="128">
                  <c:v>0.70299999999999996</c:v>
                </c:pt>
                <c:pt idx="129">
                  <c:v>0.83699999999999997</c:v>
                </c:pt>
                <c:pt idx="130">
                  <c:v>0.69199999999999995</c:v>
                </c:pt>
                <c:pt idx="131">
                  <c:v>0.28199999999999997</c:v>
                </c:pt>
                <c:pt idx="132">
                  <c:v>0.128</c:v>
                </c:pt>
                <c:pt idx="133">
                  <c:v>4.4999999999999998E-2</c:v>
                </c:pt>
                <c:pt idx="134">
                  <c:v>0.27600000000000002</c:v>
                </c:pt>
                <c:pt idx="135">
                  <c:v>0.622</c:v>
                </c:pt>
                <c:pt idx="136">
                  <c:v>0.63900000000000001</c:v>
                </c:pt>
                <c:pt idx="137">
                  <c:v>0.28399999999999997</c:v>
                </c:pt>
                <c:pt idx="138">
                  <c:v>0.224</c:v>
                </c:pt>
                <c:pt idx="139">
                  <c:v>0.20100000000000001</c:v>
                </c:pt>
                <c:pt idx="140">
                  <c:v>0.307</c:v>
                </c:pt>
                <c:pt idx="141">
                  <c:v>0.503</c:v>
                </c:pt>
                <c:pt idx="142">
                  <c:v>0.88</c:v>
                </c:pt>
                <c:pt idx="143">
                  <c:v>0.81100000000000005</c:v>
                </c:pt>
                <c:pt idx="144">
                  <c:v>0.65900000000000003</c:v>
                </c:pt>
                <c:pt idx="145">
                  <c:v>0.51700000000000002</c:v>
                </c:pt>
                <c:pt idx="146">
                  <c:v>0.13</c:v>
                </c:pt>
                <c:pt idx="147">
                  <c:v>0.72099999999999997</c:v>
                </c:pt>
                <c:pt idx="148">
                  <c:v>0.86399999999999999</c:v>
                </c:pt>
                <c:pt idx="149">
                  <c:v>0.89900000000000002</c:v>
                </c:pt>
                <c:pt idx="150">
                  <c:v>0.82599999999999996</c:v>
                </c:pt>
                <c:pt idx="151">
                  <c:v>0.50900000000000001</c:v>
                </c:pt>
                <c:pt idx="152">
                  <c:v>0.14399999999999999</c:v>
                </c:pt>
                <c:pt idx="153">
                  <c:v>0.248</c:v>
                </c:pt>
                <c:pt idx="154">
                  <c:v>0.27200000000000002</c:v>
                </c:pt>
                <c:pt idx="155">
                  <c:v>0.54800000000000004</c:v>
                </c:pt>
                <c:pt idx="156">
                  <c:v>0.55700000000000005</c:v>
                </c:pt>
                <c:pt idx="157">
                  <c:v>0.34300000000000003</c:v>
                </c:pt>
                <c:pt idx="158">
                  <c:v>0.51800000000000002</c:v>
                </c:pt>
                <c:pt idx="159">
                  <c:v>0.23200000000000001</c:v>
                </c:pt>
                <c:pt idx="160">
                  <c:v>0.33100000000000002</c:v>
                </c:pt>
                <c:pt idx="161">
                  <c:v>0.60199999999999998</c:v>
                </c:pt>
                <c:pt idx="162">
                  <c:v>0.61099999999999999</c:v>
                </c:pt>
                <c:pt idx="163">
                  <c:v>0.63100000000000001</c:v>
                </c:pt>
                <c:pt idx="164">
                  <c:v>0.71299999999999997</c:v>
                </c:pt>
                <c:pt idx="165">
                  <c:v>0.49</c:v>
                </c:pt>
                <c:pt idx="166">
                  <c:v>0.34899999999999998</c:v>
                </c:pt>
                <c:pt idx="167">
                  <c:v>0.28699999999999998</c:v>
                </c:pt>
                <c:pt idx="168">
                  <c:v>0.36299999999999999</c:v>
                </c:pt>
                <c:pt idx="169">
                  <c:v>0.38400000000000001</c:v>
                </c:pt>
                <c:pt idx="170">
                  <c:v>0.57599999999999996</c:v>
                </c:pt>
                <c:pt idx="171">
                  <c:v>0.61399999999999999</c:v>
                </c:pt>
                <c:pt idx="172">
                  <c:v>0.308</c:v>
                </c:pt>
                <c:pt idx="173">
                  <c:v>0.38100000000000001</c:v>
                </c:pt>
                <c:pt idx="174">
                  <c:v>0.77500000000000002</c:v>
                </c:pt>
                <c:pt idx="175">
                  <c:v>0.54200000000000004</c:v>
                </c:pt>
                <c:pt idx="176">
                  <c:v>0.57899999999999996</c:v>
                </c:pt>
                <c:pt idx="177">
                  <c:v>0.68899999999999995</c:v>
                </c:pt>
                <c:pt idx="178">
                  <c:v>0.123</c:v>
                </c:pt>
                <c:pt idx="179">
                  <c:v>0.43</c:v>
                </c:pt>
                <c:pt idx="180">
                  <c:v>0.57699999999999996</c:v>
                </c:pt>
                <c:pt idx="181">
                  <c:v>0.71199999999999997</c:v>
                </c:pt>
                <c:pt idx="182">
                  <c:v>0.63100000000000001</c:v>
                </c:pt>
                <c:pt idx="183">
                  <c:v>0.36599999999999999</c:v>
                </c:pt>
                <c:pt idx="184">
                  <c:v>0.34699999999999998</c:v>
                </c:pt>
                <c:pt idx="185">
                  <c:v>0.21</c:v>
                </c:pt>
                <c:pt idx="186">
                  <c:v>0.60699999999999998</c:v>
                </c:pt>
                <c:pt idx="187">
                  <c:v>0.56599999999999995</c:v>
                </c:pt>
                <c:pt idx="188">
                  <c:v>0.436</c:v>
                </c:pt>
                <c:pt idx="189">
                  <c:v>0.34300000000000003</c:v>
                </c:pt>
                <c:pt idx="190">
                  <c:v>0.53600000000000003</c:v>
                </c:pt>
                <c:pt idx="191">
                  <c:v>0.54400000000000004</c:v>
                </c:pt>
                <c:pt idx="192">
                  <c:v>0.56200000000000006</c:v>
                </c:pt>
                <c:pt idx="193">
                  <c:v>0.53800000000000003</c:v>
                </c:pt>
                <c:pt idx="194">
                  <c:v>0.30399999999999999</c:v>
                </c:pt>
                <c:pt idx="195">
                  <c:v>0.66600000000000004</c:v>
                </c:pt>
                <c:pt idx="196">
                  <c:v>0.68300000000000005</c:v>
                </c:pt>
                <c:pt idx="197">
                  <c:v>0.73</c:v>
                </c:pt>
                <c:pt idx="198">
                  <c:v>0.71699999999999997</c:v>
                </c:pt>
                <c:pt idx="199">
                  <c:v>0.66800000000000004</c:v>
                </c:pt>
                <c:pt idx="200">
                  <c:v>0.26500000000000001</c:v>
                </c:pt>
                <c:pt idx="201">
                  <c:v>0.189</c:v>
                </c:pt>
                <c:pt idx="202">
                  <c:v>0.13800000000000001</c:v>
                </c:pt>
                <c:pt idx="203">
                  <c:v>0.16200000000000001</c:v>
                </c:pt>
                <c:pt idx="204">
                  <c:v>0.47499999999999998</c:v>
                </c:pt>
                <c:pt idx="205">
                  <c:v>0.624</c:v>
                </c:pt>
                <c:pt idx="206">
                  <c:v>0.67900000000000005</c:v>
                </c:pt>
                <c:pt idx="207">
                  <c:v>0.39600000000000002</c:v>
                </c:pt>
                <c:pt idx="208">
                  <c:v>0.25</c:v>
                </c:pt>
                <c:pt idx="209">
                  <c:v>0.41599999999999998</c:v>
                </c:pt>
                <c:pt idx="210">
                  <c:v>0.26600000000000001</c:v>
                </c:pt>
                <c:pt idx="211">
                  <c:v>0.49199999999999999</c:v>
                </c:pt>
                <c:pt idx="212">
                  <c:v>0.41</c:v>
                </c:pt>
                <c:pt idx="213">
                  <c:v>0.50700000000000001</c:v>
                </c:pt>
                <c:pt idx="214">
                  <c:v>0.70499999999999996</c:v>
                </c:pt>
                <c:pt idx="215">
                  <c:v>0.52</c:v>
                </c:pt>
                <c:pt idx="216">
                  <c:v>0.625</c:v>
                </c:pt>
                <c:pt idx="217">
                  <c:v>0.45100000000000001</c:v>
                </c:pt>
                <c:pt idx="218">
                  <c:v>0.29799999999999999</c:v>
                </c:pt>
                <c:pt idx="219">
                  <c:v>0.39700000000000002</c:v>
                </c:pt>
                <c:pt idx="220">
                  <c:v>0.4</c:v>
                </c:pt>
                <c:pt idx="221">
                  <c:v>0.40200000000000002</c:v>
                </c:pt>
                <c:pt idx="222">
                  <c:v>0.36899999999999999</c:v>
                </c:pt>
                <c:pt idx="223">
                  <c:v>0.38500000000000001</c:v>
                </c:pt>
                <c:pt idx="224">
                  <c:v>0.48599999999999999</c:v>
                </c:pt>
                <c:pt idx="225">
                  <c:v>0.36399999999999999</c:v>
                </c:pt>
                <c:pt idx="226">
                  <c:v>0.65</c:v>
                </c:pt>
                <c:pt idx="227">
                  <c:v>0.76200000000000001</c:v>
                </c:pt>
                <c:pt idx="228">
                  <c:v>0.57799999999999996</c:v>
                </c:pt>
                <c:pt idx="229">
                  <c:v>0.59299999999999997</c:v>
                </c:pt>
                <c:pt idx="230">
                  <c:v>0.45200000000000001</c:v>
                </c:pt>
                <c:pt idx="231">
                  <c:v>0.22500000000000001</c:v>
                </c:pt>
                <c:pt idx="232">
                  <c:v>0.25</c:v>
                </c:pt>
                <c:pt idx="233">
                  <c:v>0.51900000000000002</c:v>
                </c:pt>
                <c:pt idx="234">
                  <c:v>0.76</c:v>
                </c:pt>
                <c:pt idx="235">
                  <c:v>0.69299999999999995</c:v>
                </c:pt>
                <c:pt idx="236">
                  <c:v>0.70299999999999996</c:v>
                </c:pt>
                <c:pt idx="237">
                  <c:v>0.53500000000000003</c:v>
                </c:pt>
                <c:pt idx="238">
                  <c:v>0.247</c:v>
                </c:pt>
                <c:pt idx="239">
                  <c:v>0.376</c:v>
                </c:pt>
                <c:pt idx="240">
                  <c:v>0.50800000000000001</c:v>
                </c:pt>
                <c:pt idx="241">
                  <c:v>0.443</c:v>
                </c:pt>
                <c:pt idx="242">
                  <c:v>0.442</c:v>
                </c:pt>
                <c:pt idx="243">
                  <c:v>0.40699999999999997</c:v>
                </c:pt>
                <c:pt idx="244">
                  <c:v>0.47899999999999998</c:v>
                </c:pt>
                <c:pt idx="245">
                  <c:v>0.49299999999999999</c:v>
                </c:pt>
                <c:pt idx="246">
                  <c:v>0.58499999999999996</c:v>
                </c:pt>
                <c:pt idx="247">
                  <c:v>0.76500000000000001</c:v>
                </c:pt>
                <c:pt idx="248">
                  <c:v>0.71699999999999997</c:v>
                </c:pt>
                <c:pt idx="249">
                  <c:v>0.77100000000000002</c:v>
                </c:pt>
                <c:pt idx="250">
                  <c:v>0.51600000000000001</c:v>
                </c:pt>
                <c:pt idx="251">
                  <c:v>0.19900000000000001</c:v>
                </c:pt>
                <c:pt idx="252">
                  <c:v>0.74199999999999999</c:v>
                </c:pt>
                <c:pt idx="253">
                  <c:v>0.80200000000000005</c:v>
                </c:pt>
                <c:pt idx="254">
                  <c:v>0.85799999999999998</c:v>
                </c:pt>
                <c:pt idx="255">
                  <c:v>0.77200000000000002</c:v>
                </c:pt>
                <c:pt idx="256">
                  <c:v>0.20699999999999999</c:v>
                </c:pt>
                <c:pt idx="257">
                  <c:v>0.11600000000000001</c:v>
                </c:pt>
                <c:pt idx="258">
                  <c:v>0.112</c:v>
                </c:pt>
                <c:pt idx="259">
                  <c:v>0.22</c:v>
                </c:pt>
                <c:pt idx="260">
                  <c:v>0.30299999999999999</c:v>
                </c:pt>
                <c:pt idx="261">
                  <c:v>0.56699999999999995</c:v>
                </c:pt>
                <c:pt idx="262">
                  <c:v>0.53</c:v>
                </c:pt>
                <c:pt idx="263">
                  <c:v>0.59299999999999997</c:v>
                </c:pt>
                <c:pt idx="264">
                  <c:v>0.52200000000000002</c:v>
                </c:pt>
                <c:pt idx="265">
                  <c:v>0.53200000000000003</c:v>
                </c:pt>
                <c:pt idx="266">
                  <c:v>0.66900000000000004</c:v>
                </c:pt>
                <c:pt idx="267">
                  <c:v>0.56499999999999995</c:v>
                </c:pt>
                <c:pt idx="268">
                  <c:v>0.61499999999999999</c:v>
                </c:pt>
                <c:pt idx="269">
                  <c:v>0.53900000000000003</c:v>
                </c:pt>
                <c:pt idx="270">
                  <c:v>0.34399999999999997</c:v>
                </c:pt>
                <c:pt idx="271">
                  <c:v>0.58299999999999996</c:v>
                </c:pt>
                <c:pt idx="272">
                  <c:v>0.375</c:v>
                </c:pt>
                <c:pt idx="273">
                  <c:v>0.35799999999999998</c:v>
                </c:pt>
                <c:pt idx="274">
                  <c:v>0.33900000000000002</c:v>
                </c:pt>
                <c:pt idx="275">
                  <c:v>0.28699999999999998</c:v>
                </c:pt>
                <c:pt idx="276">
                  <c:v>0.5</c:v>
                </c:pt>
                <c:pt idx="277">
                  <c:v>0.29199999999999998</c:v>
                </c:pt>
                <c:pt idx="278">
                  <c:v>0.56799999999999995</c:v>
                </c:pt>
                <c:pt idx="279">
                  <c:v>0.78800000000000003</c:v>
                </c:pt>
                <c:pt idx="280">
                  <c:v>0.57099999999999995</c:v>
                </c:pt>
                <c:pt idx="281">
                  <c:v>0.66900000000000004</c:v>
                </c:pt>
                <c:pt idx="282">
                  <c:v>0.47499999999999998</c:v>
                </c:pt>
                <c:pt idx="283">
                  <c:v>0.16900000000000001</c:v>
                </c:pt>
                <c:pt idx="284">
                  <c:v>0.30199999999999999</c:v>
                </c:pt>
                <c:pt idx="285">
                  <c:v>0.47</c:v>
                </c:pt>
                <c:pt idx="286">
                  <c:v>0.47499999999999998</c:v>
                </c:pt>
                <c:pt idx="287">
                  <c:v>0.372</c:v>
                </c:pt>
                <c:pt idx="288">
                  <c:v>0.28100000000000003</c:v>
                </c:pt>
                <c:pt idx="289">
                  <c:v>0.20699999999999999</c:v>
                </c:pt>
                <c:pt idx="290">
                  <c:v>0.48599999999999999</c:v>
                </c:pt>
                <c:pt idx="291">
                  <c:v>0.76200000000000001</c:v>
                </c:pt>
                <c:pt idx="292">
                  <c:v>0.558000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C9-4AC8-868D-08B3307A4B78}"/>
            </c:ext>
          </c:extLst>
        </c:ser>
        <c:ser>
          <c:idx val="2"/>
          <c:order val="3"/>
          <c:tx>
            <c:strRef>
              <c:f>股票择时信号!$AD$7</c:f>
              <c:strCache>
                <c:ptCount val="1"/>
                <c:pt idx="0">
                  <c:v>新房房价同比增速（负相关，已取负值）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3</c:f>
              <c:numCache>
                <c:formatCode>yyyy\-mm\-dd</c:formatCode>
                <c:ptCount val="293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</c:numCache>
            </c:numRef>
          </c:cat>
          <c:val>
            <c:numRef>
              <c:f>股票择时信号!$AD$11:$AD$303</c:f>
              <c:numCache>
                <c:formatCode>0.0%</c:formatCode>
                <c:ptCount val="29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8</c:v>
                </c:pt>
                <c:pt idx="6">
                  <c:v>0.66600000000000004</c:v>
                </c:pt>
                <c:pt idx="7">
                  <c:v>0.57099999999999995</c:v>
                </c:pt>
                <c:pt idx="8">
                  <c:v>0.5</c:v>
                </c:pt>
                <c:pt idx="9">
                  <c:v>0.44400000000000001</c:v>
                </c:pt>
                <c:pt idx="10">
                  <c:v>0.9</c:v>
                </c:pt>
                <c:pt idx="11">
                  <c:v>0.81799999999999995</c:v>
                </c:pt>
                <c:pt idx="12">
                  <c:v>0.75</c:v>
                </c:pt>
                <c:pt idx="13">
                  <c:v>0.69199999999999995</c:v>
                </c:pt>
                <c:pt idx="14">
                  <c:v>0.64200000000000002</c:v>
                </c:pt>
                <c:pt idx="15">
                  <c:v>0.6</c:v>
                </c:pt>
                <c:pt idx="16">
                  <c:v>0.56200000000000006</c:v>
                </c:pt>
                <c:pt idx="17">
                  <c:v>0.52900000000000003</c:v>
                </c:pt>
                <c:pt idx="18">
                  <c:v>0.94399999999999995</c:v>
                </c:pt>
                <c:pt idx="19">
                  <c:v>0.89400000000000002</c:v>
                </c:pt>
                <c:pt idx="20">
                  <c:v>0.85</c:v>
                </c:pt>
                <c:pt idx="21">
                  <c:v>0.80900000000000005</c:v>
                </c:pt>
                <c:pt idx="22">
                  <c:v>0.77200000000000002</c:v>
                </c:pt>
                <c:pt idx="23">
                  <c:v>0.95599999999999996</c:v>
                </c:pt>
                <c:pt idx="24">
                  <c:v>0.91600000000000004</c:v>
                </c:pt>
                <c:pt idx="25">
                  <c:v>0.88</c:v>
                </c:pt>
                <c:pt idx="26">
                  <c:v>0.84599999999999997</c:v>
                </c:pt>
                <c:pt idx="27">
                  <c:v>0.81399999999999995</c:v>
                </c:pt>
                <c:pt idx="28">
                  <c:v>0.96399999999999997</c:v>
                </c:pt>
                <c:pt idx="29">
                  <c:v>0.93100000000000005</c:v>
                </c:pt>
                <c:pt idx="30">
                  <c:v>0.9</c:v>
                </c:pt>
                <c:pt idx="31">
                  <c:v>0.87</c:v>
                </c:pt>
                <c:pt idx="32">
                  <c:v>0.96799999999999997</c:v>
                </c:pt>
                <c:pt idx="33">
                  <c:v>0.93899999999999995</c:v>
                </c:pt>
                <c:pt idx="34">
                  <c:v>0.91100000000000003</c:v>
                </c:pt>
                <c:pt idx="35">
                  <c:v>0.88500000000000001</c:v>
                </c:pt>
                <c:pt idx="36">
                  <c:v>0.97199999999999998</c:v>
                </c:pt>
                <c:pt idx="37">
                  <c:v>0.94499999999999995</c:v>
                </c:pt>
                <c:pt idx="38">
                  <c:v>0.92100000000000004</c:v>
                </c:pt>
                <c:pt idx="39">
                  <c:v>0.89700000000000002</c:v>
                </c:pt>
                <c:pt idx="40">
                  <c:v>0.875</c:v>
                </c:pt>
                <c:pt idx="41">
                  <c:v>0.97499999999999998</c:v>
                </c:pt>
                <c:pt idx="42">
                  <c:v>0.95199999999999996</c:v>
                </c:pt>
                <c:pt idx="43">
                  <c:v>0.93</c:v>
                </c:pt>
                <c:pt idx="44">
                  <c:v>0.90900000000000003</c:v>
                </c:pt>
                <c:pt idx="45">
                  <c:v>0.88800000000000001</c:v>
                </c:pt>
                <c:pt idx="46">
                  <c:v>0.86899999999999999</c:v>
                </c:pt>
                <c:pt idx="47">
                  <c:v>0.85099999999999998</c:v>
                </c:pt>
                <c:pt idx="48">
                  <c:v>0.83299999999999996</c:v>
                </c:pt>
                <c:pt idx="49">
                  <c:v>0.71399999999999997</c:v>
                </c:pt>
                <c:pt idx="50">
                  <c:v>0.7</c:v>
                </c:pt>
                <c:pt idx="51">
                  <c:v>0.68600000000000005</c:v>
                </c:pt>
                <c:pt idx="52">
                  <c:v>0.67300000000000004</c:v>
                </c:pt>
                <c:pt idx="53">
                  <c:v>0.58399999999999996</c:v>
                </c:pt>
                <c:pt idx="54">
                  <c:v>0.57399999999999995</c:v>
                </c:pt>
                <c:pt idx="55">
                  <c:v>0.56299999999999994</c:v>
                </c:pt>
                <c:pt idx="56">
                  <c:v>0.55300000000000005</c:v>
                </c:pt>
                <c:pt idx="57">
                  <c:v>0.54300000000000004</c:v>
                </c:pt>
                <c:pt idx="58">
                  <c:v>0.53400000000000003</c:v>
                </c:pt>
                <c:pt idx="59">
                  <c:v>0.52500000000000002</c:v>
                </c:pt>
                <c:pt idx="60">
                  <c:v>0.51600000000000001</c:v>
                </c:pt>
                <c:pt idx="61">
                  <c:v>0.50800000000000001</c:v>
                </c:pt>
                <c:pt idx="62">
                  <c:v>0.435</c:v>
                </c:pt>
                <c:pt idx="63">
                  <c:v>0.42799999999999999</c:v>
                </c:pt>
                <c:pt idx="64">
                  <c:v>0.42099999999999999</c:v>
                </c:pt>
                <c:pt idx="65">
                  <c:v>0.41499999999999998</c:v>
                </c:pt>
                <c:pt idx="66">
                  <c:v>0.66600000000000004</c:v>
                </c:pt>
                <c:pt idx="67">
                  <c:v>0.65600000000000003</c:v>
                </c:pt>
                <c:pt idx="68">
                  <c:v>0.64700000000000002</c:v>
                </c:pt>
                <c:pt idx="69">
                  <c:v>0.63700000000000001</c:v>
                </c:pt>
                <c:pt idx="70">
                  <c:v>0.628</c:v>
                </c:pt>
                <c:pt idx="71">
                  <c:v>0.746</c:v>
                </c:pt>
                <c:pt idx="72">
                  <c:v>0.73599999999999999</c:v>
                </c:pt>
                <c:pt idx="73">
                  <c:v>0.72599999999999998</c:v>
                </c:pt>
                <c:pt idx="74">
                  <c:v>0.71599999999999997</c:v>
                </c:pt>
                <c:pt idx="75">
                  <c:v>0.88</c:v>
                </c:pt>
                <c:pt idx="76">
                  <c:v>0.86799999999999999</c:v>
                </c:pt>
                <c:pt idx="77">
                  <c:v>0.85699999999999998</c:v>
                </c:pt>
                <c:pt idx="78">
                  <c:v>0.84599999999999997</c:v>
                </c:pt>
                <c:pt idx="79">
                  <c:v>0.83499999999999996</c:v>
                </c:pt>
                <c:pt idx="80">
                  <c:v>0.98699999999999999</c:v>
                </c:pt>
                <c:pt idx="81">
                  <c:v>0.97499999999999998</c:v>
                </c:pt>
                <c:pt idx="82">
                  <c:v>0.96299999999999997</c:v>
                </c:pt>
                <c:pt idx="83">
                  <c:v>0.95099999999999996</c:v>
                </c:pt>
                <c:pt idx="84">
                  <c:v>0.98799999999999999</c:v>
                </c:pt>
                <c:pt idx="85">
                  <c:v>0.97599999999999998</c:v>
                </c:pt>
                <c:pt idx="86">
                  <c:v>0.96499999999999997</c:v>
                </c:pt>
                <c:pt idx="87">
                  <c:v>0.95399999999999996</c:v>
                </c:pt>
                <c:pt idx="88">
                  <c:v>0.98799999999999999</c:v>
                </c:pt>
                <c:pt idx="89">
                  <c:v>0.97699999999999998</c:v>
                </c:pt>
                <c:pt idx="90">
                  <c:v>0.96599999999999997</c:v>
                </c:pt>
                <c:pt idx="91">
                  <c:v>0.95599999999999996</c:v>
                </c:pt>
                <c:pt idx="92">
                  <c:v>0.94499999999999995</c:v>
                </c:pt>
                <c:pt idx="93">
                  <c:v>0.98899999999999999</c:v>
                </c:pt>
                <c:pt idx="94">
                  <c:v>0.97799999999999998</c:v>
                </c:pt>
                <c:pt idx="95">
                  <c:v>0.96799999999999997</c:v>
                </c:pt>
                <c:pt idx="96">
                  <c:v>0.95799999999999996</c:v>
                </c:pt>
                <c:pt idx="97">
                  <c:v>0.94799999999999995</c:v>
                </c:pt>
                <c:pt idx="98">
                  <c:v>0.98899999999999999</c:v>
                </c:pt>
                <c:pt idx="99">
                  <c:v>0.97899999999999998</c:v>
                </c:pt>
                <c:pt idx="100">
                  <c:v>0.97</c:v>
                </c:pt>
                <c:pt idx="101">
                  <c:v>0.99</c:v>
                </c:pt>
                <c:pt idx="102">
                  <c:v>0.98</c:v>
                </c:pt>
                <c:pt idx="103">
                  <c:v>0.97</c:v>
                </c:pt>
                <c:pt idx="104">
                  <c:v>0.96099999999999997</c:v>
                </c:pt>
                <c:pt idx="105">
                  <c:v>0.95199999999999996</c:v>
                </c:pt>
                <c:pt idx="106">
                  <c:v>0.99</c:v>
                </c:pt>
                <c:pt idx="107">
                  <c:v>0.98099999999999998</c:v>
                </c:pt>
                <c:pt idx="108">
                  <c:v>0.97199999999999998</c:v>
                </c:pt>
                <c:pt idx="109">
                  <c:v>0.96299999999999997</c:v>
                </c:pt>
                <c:pt idx="110">
                  <c:v>1</c:v>
                </c:pt>
                <c:pt idx="111">
                  <c:v>0.99</c:v>
                </c:pt>
                <c:pt idx="112">
                  <c:v>0.98199999999999998</c:v>
                </c:pt>
                <c:pt idx="113">
                  <c:v>0.97299999999999998</c:v>
                </c:pt>
                <c:pt idx="114">
                  <c:v>1</c:v>
                </c:pt>
                <c:pt idx="115">
                  <c:v>0.99099999999999999</c:v>
                </c:pt>
                <c:pt idx="116">
                  <c:v>0.98199999999999998</c:v>
                </c:pt>
                <c:pt idx="117">
                  <c:v>0.97399999999999998</c:v>
                </c:pt>
                <c:pt idx="118">
                  <c:v>1</c:v>
                </c:pt>
                <c:pt idx="119">
                  <c:v>0.99099999999999999</c:v>
                </c:pt>
                <c:pt idx="120">
                  <c:v>0.98299999999999998</c:v>
                </c:pt>
                <c:pt idx="121">
                  <c:v>0.97499999999999998</c:v>
                </c:pt>
                <c:pt idx="122">
                  <c:v>0.96699999999999997</c:v>
                </c:pt>
                <c:pt idx="123">
                  <c:v>1</c:v>
                </c:pt>
                <c:pt idx="124">
                  <c:v>0.99099999999999999</c:v>
                </c:pt>
                <c:pt idx="125">
                  <c:v>0.98399999999999999</c:v>
                </c:pt>
                <c:pt idx="126">
                  <c:v>0.97599999999999998</c:v>
                </c:pt>
                <c:pt idx="127">
                  <c:v>1</c:v>
                </c:pt>
                <c:pt idx="128">
                  <c:v>0.99199999999999999</c:v>
                </c:pt>
                <c:pt idx="129">
                  <c:v>0.98399999999999999</c:v>
                </c:pt>
                <c:pt idx="130">
                  <c:v>0.97599999999999998</c:v>
                </c:pt>
                <c:pt idx="131">
                  <c:v>0.96899999999999997</c:v>
                </c:pt>
                <c:pt idx="132">
                  <c:v>0.96199999999999997</c:v>
                </c:pt>
                <c:pt idx="133">
                  <c:v>1</c:v>
                </c:pt>
                <c:pt idx="134">
                  <c:v>0.99199999999999999</c:v>
                </c:pt>
                <c:pt idx="135">
                  <c:v>0.98499999999999999</c:v>
                </c:pt>
                <c:pt idx="136">
                  <c:v>1</c:v>
                </c:pt>
                <c:pt idx="137">
                  <c:v>0.99199999999999999</c:v>
                </c:pt>
                <c:pt idx="138">
                  <c:v>0.98499999999999999</c:v>
                </c:pt>
                <c:pt idx="139">
                  <c:v>0.97799999999999998</c:v>
                </c:pt>
                <c:pt idx="140">
                  <c:v>0.95</c:v>
                </c:pt>
                <c:pt idx="141">
                  <c:v>0.94299999999999995</c:v>
                </c:pt>
                <c:pt idx="142">
                  <c:v>0.93600000000000005</c:v>
                </c:pt>
                <c:pt idx="143">
                  <c:v>0.93</c:v>
                </c:pt>
                <c:pt idx="144">
                  <c:v>0.92300000000000004</c:v>
                </c:pt>
                <c:pt idx="145">
                  <c:v>0.91700000000000004</c:v>
                </c:pt>
                <c:pt idx="146">
                  <c:v>0.91</c:v>
                </c:pt>
                <c:pt idx="147">
                  <c:v>0.90400000000000003</c:v>
                </c:pt>
                <c:pt idx="148">
                  <c:v>0.89800000000000002</c:v>
                </c:pt>
                <c:pt idx="149">
                  <c:v>0.89200000000000002</c:v>
                </c:pt>
                <c:pt idx="150">
                  <c:v>0.88600000000000001</c:v>
                </c:pt>
                <c:pt idx="151">
                  <c:v>0.88</c:v>
                </c:pt>
                <c:pt idx="152">
                  <c:v>0.875</c:v>
                </c:pt>
                <c:pt idx="153">
                  <c:v>0.83</c:v>
                </c:pt>
                <c:pt idx="154">
                  <c:v>0.82399999999999995</c:v>
                </c:pt>
                <c:pt idx="155">
                  <c:v>0.81899999999999995</c:v>
                </c:pt>
                <c:pt idx="156">
                  <c:v>0.81399999999999995</c:v>
                </c:pt>
                <c:pt idx="157">
                  <c:v>0.80800000000000005</c:v>
                </c:pt>
                <c:pt idx="158">
                  <c:v>0.77800000000000002</c:v>
                </c:pt>
                <c:pt idx="159">
                  <c:v>0.77300000000000002</c:v>
                </c:pt>
                <c:pt idx="160">
                  <c:v>0.76800000000000002</c:v>
                </c:pt>
                <c:pt idx="161">
                  <c:v>0.76300000000000001</c:v>
                </c:pt>
                <c:pt idx="162">
                  <c:v>0.70299999999999996</c:v>
                </c:pt>
                <c:pt idx="163">
                  <c:v>0.69899999999999995</c:v>
                </c:pt>
                <c:pt idx="164">
                  <c:v>0.69499999999999995</c:v>
                </c:pt>
                <c:pt idx="165">
                  <c:v>0.69</c:v>
                </c:pt>
                <c:pt idx="166">
                  <c:v>0.68600000000000005</c:v>
                </c:pt>
                <c:pt idx="167">
                  <c:v>0.68200000000000005</c:v>
                </c:pt>
                <c:pt idx="168">
                  <c:v>0.67800000000000005</c:v>
                </c:pt>
                <c:pt idx="169">
                  <c:v>0.67400000000000004</c:v>
                </c:pt>
                <c:pt idx="170">
                  <c:v>0.67</c:v>
                </c:pt>
                <c:pt idx="171">
                  <c:v>0.66600000000000004</c:v>
                </c:pt>
                <c:pt idx="172">
                  <c:v>0.66200000000000003</c:v>
                </c:pt>
                <c:pt idx="173">
                  <c:v>0.65800000000000003</c:v>
                </c:pt>
                <c:pt idx="174">
                  <c:v>0.65500000000000003</c:v>
                </c:pt>
                <c:pt idx="175">
                  <c:v>0.70199999999999996</c:v>
                </c:pt>
                <c:pt idx="176">
                  <c:v>0.69799999999999995</c:v>
                </c:pt>
                <c:pt idx="177">
                  <c:v>0.69399999999999995</c:v>
                </c:pt>
                <c:pt idx="178">
                  <c:v>0.69099999999999995</c:v>
                </c:pt>
                <c:pt idx="179">
                  <c:v>0.68700000000000006</c:v>
                </c:pt>
                <c:pt idx="180">
                  <c:v>0.68300000000000005</c:v>
                </c:pt>
                <c:pt idx="181">
                  <c:v>0.67900000000000005</c:v>
                </c:pt>
                <c:pt idx="182">
                  <c:v>0.67500000000000004</c:v>
                </c:pt>
                <c:pt idx="183">
                  <c:v>0.67200000000000004</c:v>
                </c:pt>
                <c:pt idx="184">
                  <c:v>0.66800000000000004</c:v>
                </c:pt>
                <c:pt idx="185">
                  <c:v>0.66400000000000003</c:v>
                </c:pt>
                <c:pt idx="186">
                  <c:v>0.66100000000000003</c:v>
                </c:pt>
                <c:pt idx="187">
                  <c:v>0.65700000000000003</c:v>
                </c:pt>
                <c:pt idx="188">
                  <c:v>0.65400000000000003</c:v>
                </c:pt>
                <c:pt idx="189">
                  <c:v>0.65</c:v>
                </c:pt>
                <c:pt idx="190">
                  <c:v>0.64700000000000002</c:v>
                </c:pt>
                <c:pt idx="191">
                  <c:v>0.64300000000000002</c:v>
                </c:pt>
                <c:pt idx="192">
                  <c:v>0.72899999999999998</c:v>
                </c:pt>
                <c:pt idx="193">
                  <c:v>0.72499999999999998</c:v>
                </c:pt>
                <c:pt idx="194">
                  <c:v>0.72099999999999997</c:v>
                </c:pt>
                <c:pt idx="195">
                  <c:v>0.71699999999999997</c:v>
                </c:pt>
                <c:pt idx="196">
                  <c:v>0.71399999999999997</c:v>
                </c:pt>
                <c:pt idx="197">
                  <c:v>0.77600000000000002</c:v>
                </c:pt>
                <c:pt idx="198">
                  <c:v>0.77200000000000002</c:v>
                </c:pt>
                <c:pt idx="199">
                  <c:v>0.76800000000000002</c:v>
                </c:pt>
                <c:pt idx="200">
                  <c:v>0.76500000000000001</c:v>
                </c:pt>
                <c:pt idx="201">
                  <c:v>0.76100000000000001</c:v>
                </c:pt>
                <c:pt idx="202">
                  <c:v>0.78200000000000003</c:v>
                </c:pt>
                <c:pt idx="203">
                  <c:v>0.77800000000000002</c:v>
                </c:pt>
                <c:pt idx="204">
                  <c:v>0.77400000000000002</c:v>
                </c:pt>
                <c:pt idx="205">
                  <c:v>0.77</c:v>
                </c:pt>
                <c:pt idx="206">
                  <c:v>0.84899999999999998</c:v>
                </c:pt>
                <c:pt idx="207">
                  <c:v>0.84499999999999997</c:v>
                </c:pt>
                <c:pt idx="208">
                  <c:v>0.84099999999999997</c:v>
                </c:pt>
                <c:pt idx="209">
                  <c:v>0.83699999999999997</c:v>
                </c:pt>
                <c:pt idx="210">
                  <c:v>1</c:v>
                </c:pt>
                <c:pt idx="211">
                  <c:v>0.995</c:v>
                </c:pt>
                <c:pt idx="212">
                  <c:v>0.99</c:v>
                </c:pt>
                <c:pt idx="213">
                  <c:v>0.98499999999999999</c:v>
                </c:pt>
                <c:pt idx="214">
                  <c:v>1</c:v>
                </c:pt>
                <c:pt idx="215">
                  <c:v>0.995</c:v>
                </c:pt>
                <c:pt idx="216">
                  <c:v>0.99</c:v>
                </c:pt>
                <c:pt idx="217">
                  <c:v>0.98599999999999999</c:v>
                </c:pt>
                <c:pt idx="218">
                  <c:v>0.98099999999999998</c:v>
                </c:pt>
                <c:pt idx="219">
                  <c:v>1</c:v>
                </c:pt>
                <c:pt idx="220">
                  <c:v>0.995</c:v>
                </c:pt>
                <c:pt idx="221">
                  <c:v>0.99</c:v>
                </c:pt>
                <c:pt idx="222">
                  <c:v>0.98599999999999999</c:v>
                </c:pt>
                <c:pt idx="223">
                  <c:v>1</c:v>
                </c:pt>
                <c:pt idx="224">
                  <c:v>0.995</c:v>
                </c:pt>
                <c:pt idx="225">
                  <c:v>0.99099999999999999</c:v>
                </c:pt>
                <c:pt idx="226">
                  <c:v>0.98599999999999999</c:v>
                </c:pt>
                <c:pt idx="227">
                  <c:v>1</c:v>
                </c:pt>
                <c:pt idx="228">
                  <c:v>0.995</c:v>
                </c:pt>
                <c:pt idx="229">
                  <c:v>0.99099999999999999</c:v>
                </c:pt>
                <c:pt idx="230">
                  <c:v>0.98599999999999999</c:v>
                </c:pt>
                <c:pt idx="231">
                  <c:v>1</c:v>
                </c:pt>
                <c:pt idx="232">
                  <c:v>0.995</c:v>
                </c:pt>
                <c:pt idx="233">
                  <c:v>0.99099999999999999</c:v>
                </c:pt>
                <c:pt idx="234">
                  <c:v>0.98699999999999999</c:v>
                </c:pt>
                <c:pt idx="235">
                  <c:v>0.98199999999999998</c:v>
                </c:pt>
                <c:pt idx="236">
                  <c:v>1</c:v>
                </c:pt>
                <c:pt idx="237">
                  <c:v>0.995</c:v>
                </c:pt>
                <c:pt idx="238">
                  <c:v>0.99099999999999999</c:v>
                </c:pt>
                <c:pt idx="239">
                  <c:v>0.98699999999999999</c:v>
                </c:pt>
                <c:pt idx="240">
                  <c:v>1</c:v>
                </c:pt>
                <c:pt idx="241">
                  <c:v>0.995</c:v>
                </c:pt>
                <c:pt idx="242">
                  <c:v>0.99099999999999999</c:v>
                </c:pt>
                <c:pt idx="243">
                  <c:v>0.98699999999999999</c:v>
                </c:pt>
                <c:pt idx="244">
                  <c:v>0.98299999999999998</c:v>
                </c:pt>
                <c:pt idx="245">
                  <c:v>0.96299999999999997</c:v>
                </c:pt>
                <c:pt idx="246">
                  <c:v>0.95899999999999996</c:v>
                </c:pt>
                <c:pt idx="247">
                  <c:v>0.95499999999999996</c:v>
                </c:pt>
                <c:pt idx="248">
                  <c:v>0.95099999999999996</c:v>
                </c:pt>
                <c:pt idx="249">
                  <c:v>0.92700000000000005</c:v>
                </c:pt>
                <c:pt idx="250">
                  <c:v>0.92400000000000004</c:v>
                </c:pt>
                <c:pt idx="251">
                  <c:v>0.92</c:v>
                </c:pt>
                <c:pt idx="252">
                  <c:v>0.91600000000000004</c:v>
                </c:pt>
                <c:pt idx="253">
                  <c:v>0.91300000000000003</c:v>
                </c:pt>
                <c:pt idx="254">
                  <c:v>0.90900000000000003</c:v>
                </c:pt>
                <c:pt idx="255">
                  <c:v>0.90500000000000003</c:v>
                </c:pt>
                <c:pt idx="256">
                  <c:v>0.90200000000000002</c:v>
                </c:pt>
                <c:pt idx="257">
                  <c:v>0.89800000000000002</c:v>
                </c:pt>
                <c:pt idx="258">
                  <c:v>0.879</c:v>
                </c:pt>
                <c:pt idx="259">
                  <c:v>0.876</c:v>
                </c:pt>
                <c:pt idx="260">
                  <c:v>0.873</c:v>
                </c:pt>
                <c:pt idx="261">
                  <c:v>0.86899999999999999</c:v>
                </c:pt>
                <c:pt idx="262">
                  <c:v>0.86599999999999999</c:v>
                </c:pt>
                <c:pt idx="263">
                  <c:v>0.86299999999999999</c:v>
                </c:pt>
                <c:pt idx="264">
                  <c:v>0.85899999999999999</c:v>
                </c:pt>
                <c:pt idx="265">
                  <c:v>0.85599999999999998</c:v>
                </c:pt>
                <c:pt idx="266">
                  <c:v>0.85299999999999998</c:v>
                </c:pt>
                <c:pt idx="267">
                  <c:v>0.83499999999999996</c:v>
                </c:pt>
                <c:pt idx="268">
                  <c:v>0.83199999999999996</c:v>
                </c:pt>
                <c:pt idx="269">
                  <c:v>0.82799999999999996</c:v>
                </c:pt>
                <c:pt idx="270">
                  <c:v>0.82499999999999996</c:v>
                </c:pt>
                <c:pt idx="271">
                  <c:v>0.80800000000000005</c:v>
                </c:pt>
                <c:pt idx="272">
                  <c:v>0.80500000000000005</c:v>
                </c:pt>
                <c:pt idx="273">
                  <c:v>0.80200000000000005</c:v>
                </c:pt>
                <c:pt idx="274">
                  <c:v>0.79900000000000004</c:v>
                </c:pt>
                <c:pt idx="275">
                  <c:v>0.79600000000000004</c:v>
                </c:pt>
                <c:pt idx="276">
                  <c:v>0.79300000000000004</c:v>
                </c:pt>
                <c:pt idx="277">
                  <c:v>0.79</c:v>
                </c:pt>
                <c:pt idx="278">
                  <c:v>0.78700000000000003</c:v>
                </c:pt>
                <c:pt idx="279">
                  <c:v>0.76700000000000002</c:v>
                </c:pt>
                <c:pt idx="280">
                  <c:v>0.76400000000000001</c:v>
                </c:pt>
                <c:pt idx="281">
                  <c:v>0.76100000000000001</c:v>
                </c:pt>
                <c:pt idx="282">
                  <c:v>0.75800000000000001</c:v>
                </c:pt>
                <c:pt idx="283">
                  <c:v>0.75600000000000001</c:v>
                </c:pt>
                <c:pt idx="284">
                  <c:v>0.753</c:v>
                </c:pt>
                <c:pt idx="285">
                  <c:v>0.75</c:v>
                </c:pt>
                <c:pt idx="286">
                  <c:v>0.748</c:v>
                </c:pt>
                <c:pt idx="287">
                  <c:v>0.745</c:v>
                </c:pt>
                <c:pt idx="288">
                  <c:v>0.74299999999999999</c:v>
                </c:pt>
                <c:pt idx="289">
                  <c:v>0.72599999999999998</c:v>
                </c:pt>
                <c:pt idx="290">
                  <c:v>0.72399999999999998</c:v>
                </c:pt>
                <c:pt idx="291">
                  <c:v>0.72099999999999997</c:v>
                </c:pt>
                <c:pt idx="292">
                  <c:v>0.718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C9-4AC8-868D-08B3307A4B78}"/>
            </c:ext>
          </c:extLst>
        </c:ser>
        <c:ser>
          <c:idx val="3"/>
          <c:order val="4"/>
          <c:tx>
            <c:strRef>
              <c:f>股票择时信号!$AE$7</c:f>
              <c:strCache>
                <c:ptCount val="1"/>
                <c:pt idx="0">
                  <c:v>人民币兑美元离岸汇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3</c:f>
              <c:numCache>
                <c:formatCode>yyyy\-mm\-dd</c:formatCode>
                <c:ptCount val="293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</c:numCache>
            </c:numRef>
          </c:cat>
          <c:val>
            <c:numRef>
              <c:f>股票择时信号!$AE$11:$AE$303</c:f>
              <c:numCache>
                <c:formatCode>0.0%</c:formatCode>
                <c:ptCount val="29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.375</c:v>
                </c:pt>
                <c:pt idx="9">
                  <c:v>0.222</c:v>
                </c:pt>
                <c:pt idx="10">
                  <c:v>0.3</c:v>
                </c:pt>
                <c:pt idx="11">
                  <c:v>0.27200000000000002</c:v>
                </c:pt>
                <c:pt idx="12">
                  <c:v>8.3000000000000004E-2</c:v>
                </c:pt>
                <c:pt idx="13">
                  <c:v>0</c:v>
                </c:pt>
                <c:pt idx="14">
                  <c:v>0</c:v>
                </c:pt>
                <c:pt idx="15">
                  <c:v>6.6000000000000003E-2</c:v>
                </c:pt>
                <c:pt idx="16">
                  <c:v>6.2E-2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4.1000000000000002E-2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3.4000000000000002E-2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.03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2.7E-2</c:v>
                </c:pt>
                <c:pt idx="38">
                  <c:v>0</c:v>
                </c:pt>
                <c:pt idx="39">
                  <c:v>0</c:v>
                </c:pt>
                <c:pt idx="40">
                  <c:v>2.5000000000000001E-2</c:v>
                </c:pt>
                <c:pt idx="41">
                  <c:v>4.8000000000000001E-2</c:v>
                </c:pt>
                <c:pt idx="42">
                  <c:v>2.3E-2</c:v>
                </c:pt>
                <c:pt idx="43">
                  <c:v>2.3E-2</c:v>
                </c:pt>
                <c:pt idx="44">
                  <c:v>0</c:v>
                </c:pt>
                <c:pt idx="45">
                  <c:v>2.1999999999999999E-2</c:v>
                </c:pt>
                <c:pt idx="46">
                  <c:v>0.13</c:v>
                </c:pt>
                <c:pt idx="47">
                  <c:v>0.17</c:v>
                </c:pt>
                <c:pt idx="48">
                  <c:v>0.187</c:v>
                </c:pt>
                <c:pt idx="49">
                  <c:v>0.183</c:v>
                </c:pt>
                <c:pt idx="50">
                  <c:v>0.3</c:v>
                </c:pt>
                <c:pt idx="51">
                  <c:v>0.372</c:v>
                </c:pt>
                <c:pt idx="52">
                  <c:v>0.32600000000000001</c:v>
                </c:pt>
                <c:pt idx="53">
                  <c:v>0.30099999999999999</c:v>
                </c:pt>
                <c:pt idx="54">
                  <c:v>0.14799999999999999</c:v>
                </c:pt>
                <c:pt idx="55">
                  <c:v>0.127</c:v>
                </c:pt>
                <c:pt idx="56">
                  <c:v>3.5000000000000003E-2</c:v>
                </c:pt>
                <c:pt idx="57">
                  <c:v>1.7000000000000001E-2</c:v>
                </c:pt>
                <c:pt idx="58">
                  <c:v>1.7000000000000001E-2</c:v>
                </c:pt>
                <c:pt idx="59">
                  <c:v>0</c:v>
                </c:pt>
                <c:pt idx="60">
                  <c:v>1.6E-2</c:v>
                </c:pt>
                <c:pt idx="61">
                  <c:v>3.2000000000000001E-2</c:v>
                </c:pt>
                <c:pt idx="62">
                  <c:v>9.6000000000000002E-2</c:v>
                </c:pt>
                <c:pt idx="63">
                  <c:v>0.19</c:v>
                </c:pt>
                <c:pt idx="64">
                  <c:v>0.20300000000000001</c:v>
                </c:pt>
                <c:pt idx="65">
                  <c:v>0.26100000000000001</c:v>
                </c:pt>
                <c:pt idx="66">
                  <c:v>0.21199999999999999</c:v>
                </c:pt>
                <c:pt idx="67">
                  <c:v>0.28299999999999997</c:v>
                </c:pt>
                <c:pt idx="68">
                  <c:v>0.26400000000000001</c:v>
                </c:pt>
                <c:pt idx="69">
                  <c:v>0.20200000000000001</c:v>
                </c:pt>
                <c:pt idx="70">
                  <c:v>0.314</c:v>
                </c:pt>
                <c:pt idx="71">
                  <c:v>0.33800000000000002</c:v>
                </c:pt>
                <c:pt idx="72">
                  <c:v>0.19400000000000001</c:v>
                </c:pt>
                <c:pt idx="73">
                  <c:v>0.109</c:v>
                </c:pt>
                <c:pt idx="74">
                  <c:v>0.13500000000000001</c:v>
                </c:pt>
                <c:pt idx="75">
                  <c:v>0.14599999999999999</c:v>
                </c:pt>
                <c:pt idx="76">
                  <c:v>0.184</c:v>
                </c:pt>
                <c:pt idx="77">
                  <c:v>0.14199999999999999</c:v>
                </c:pt>
                <c:pt idx="78">
                  <c:v>0.115</c:v>
                </c:pt>
                <c:pt idx="79">
                  <c:v>7.4999999999999997E-2</c:v>
                </c:pt>
                <c:pt idx="80">
                  <c:v>2.5000000000000001E-2</c:v>
                </c:pt>
                <c:pt idx="81">
                  <c:v>4.9000000000000002E-2</c:v>
                </c:pt>
                <c:pt idx="82">
                  <c:v>0.06</c:v>
                </c:pt>
                <c:pt idx="83">
                  <c:v>1.2E-2</c:v>
                </c:pt>
                <c:pt idx="84">
                  <c:v>1.0999999999999999E-2</c:v>
                </c:pt>
                <c:pt idx="85">
                  <c:v>7.0000000000000007E-2</c:v>
                </c:pt>
                <c:pt idx="86">
                  <c:v>0</c:v>
                </c:pt>
                <c:pt idx="87">
                  <c:v>0</c:v>
                </c:pt>
                <c:pt idx="88">
                  <c:v>3.4000000000000002E-2</c:v>
                </c:pt>
                <c:pt idx="89">
                  <c:v>2.1999999999999999E-2</c:v>
                </c:pt>
                <c:pt idx="90">
                  <c:v>0</c:v>
                </c:pt>
                <c:pt idx="91">
                  <c:v>5.3999999999999999E-2</c:v>
                </c:pt>
                <c:pt idx="92">
                  <c:v>0</c:v>
                </c:pt>
                <c:pt idx="93">
                  <c:v>0</c:v>
                </c:pt>
                <c:pt idx="94">
                  <c:v>0.01</c:v>
                </c:pt>
                <c:pt idx="95">
                  <c:v>2.1000000000000001E-2</c:v>
                </c:pt>
                <c:pt idx="96">
                  <c:v>3.1E-2</c:v>
                </c:pt>
                <c:pt idx="97">
                  <c:v>0</c:v>
                </c:pt>
                <c:pt idx="98">
                  <c:v>0</c:v>
                </c:pt>
                <c:pt idx="99">
                  <c:v>0.01</c:v>
                </c:pt>
                <c:pt idx="100">
                  <c:v>0.03</c:v>
                </c:pt>
                <c:pt idx="101">
                  <c:v>0.108</c:v>
                </c:pt>
                <c:pt idx="102">
                  <c:v>0.156</c:v>
                </c:pt>
                <c:pt idx="103">
                  <c:v>8.6999999999999994E-2</c:v>
                </c:pt>
                <c:pt idx="104">
                  <c:v>9.6000000000000002E-2</c:v>
                </c:pt>
                <c:pt idx="105">
                  <c:v>0.19</c:v>
                </c:pt>
                <c:pt idx="106">
                  <c:v>0.46200000000000002</c:v>
                </c:pt>
                <c:pt idx="107">
                  <c:v>0.71</c:v>
                </c:pt>
                <c:pt idx="108">
                  <c:v>0.73099999999999998</c:v>
                </c:pt>
                <c:pt idx="109">
                  <c:v>0.77900000000000003</c:v>
                </c:pt>
                <c:pt idx="110">
                  <c:v>0.754</c:v>
                </c:pt>
                <c:pt idx="111">
                  <c:v>0.72899999999999998</c:v>
                </c:pt>
                <c:pt idx="112">
                  <c:v>0.70499999999999996</c:v>
                </c:pt>
                <c:pt idx="113">
                  <c:v>0.71599999999999997</c:v>
                </c:pt>
                <c:pt idx="114">
                  <c:v>0.754</c:v>
                </c:pt>
                <c:pt idx="115">
                  <c:v>0.70399999999999996</c:v>
                </c:pt>
                <c:pt idx="116">
                  <c:v>0.70599999999999996</c:v>
                </c:pt>
                <c:pt idx="117">
                  <c:v>0.7</c:v>
                </c:pt>
                <c:pt idx="118">
                  <c:v>0.77100000000000002</c:v>
                </c:pt>
                <c:pt idx="119">
                  <c:v>0.77300000000000002</c:v>
                </c:pt>
                <c:pt idx="120">
                  <c:v>0.76600000000000001</c:v>
                </c:pt>
                <c:pt idx="121">
                  <c:v>0.77600000000000002</c:v>
                </c:pt>
                <c:pt idx="122">
                  <c:v>0.745</c:v>
                </c:pt>
                <c:pt idx="123">
                  <c:v>0.81299999999999994</c:v>
                </c:pt>
                <c:pt idx="124">
                  <c:v>0.83</c:v>
                </c:pt>
                <c:pt idx="125">
                  <c:v>0.84</c:v>
                </c:pt>
                <c:pt idx="126">
                  <c:v>0.85699999999999998</c:v>
                </c:pt>
                <c:pt idx="127">
                  <c:v>0.86599999999999999</c:v>
                </c:pt>
                <c:pt idx="128">
                  <c:v>0.94499999999999995</c:v>
                </c:pt>
                <c:pt idx="129">
                  <c:v>0.99199999999999999</c:v>
                </c:pt>
                <c:pt idx="130">
                  <c:v>0.95299999999999996</c:v>
                </c:pt>
                <c:pt idx="131">
                  <c:v>1</c:v>
                </c:pt>
                <c:pt idx="132">
                  <c:v>1</c:v>
                </c:pt>
                <c:pt idx="133">
                  <c:v>1</c:v>
                </c:pt>
                <c:pt idx="134">
                  <c:v>0.99199999999999999</c:v>
                </c:pt>
                <c:pt idx="135">
                  <c:v>0.97</c:v>
                </c:pt>
                <c:pt idx="136">
                  <c:v>0.91900000000000004</c:v>
                </c:pt>
                <c:pt idx="137">
                  <c:v>0.97</c:v>
                </c:pt>
                <c:pt idx="138">
                  <c:v>0.876</c:v>
                </c:pt>
                <c:pt idx="139">
                  <c:v>0.79100000000000004</c:v>
                </c:pt>
                <c:pt idx="140">
                  <c:v>0.79200000000000004</c:v>
                </c:pt>
                <c:pt idx="141">
                  <c:v>0.80100000000000005</c:v>
                </c:pt>
                <c:pt idx="142">
                  <c:v>0.76700000000000002</c:v>
                </c:pt>
                <c:pt idx="143">
                  <c:v>0.72</c:v>
                </c:pt>
                <c:pt idx="144">
                  <c:v>0.63100000000000001</c:v>
                </c:pt>
                <c:pt idx="145">
                  <c:v>0.66800000000000004</c:v>
                </c:pt>
                <c:pt idx="146">
                  <c:v>0.65700000000000003</c:v>
                </c:pt>
                <c:pt idx="147">
                  <c:v>0.66600000000000004</c:v>
                </c:pt>
                <c:pt idx="148">
                  <c:v>0.69499999999999995</c:v>
                </c:pt>
                <c:pt idx="149">
                  <c:v>0.72399999999999998</c:v>
                </c:pt>
                <c:pt idx="150">
                  <c:v>0.76</c:v>
                </c:pt>
                <c:pt idx="151">
                  <c:v>0.74099999999999999</c:v>
                </c:pt>
                <c:pt idx="152">
                  <c:v>0.78200000000000003</c:v>
                </c:pt>
                <c:pt idx="153">
                  <c:v>0.73199999999999998</c:v>
                </c:pt>
                <c:pt idx="154">
                  <c:v>0.70699999999999996</c:v>
                </c:pt>
                <c:pt idx="155">
                  <c:v>0.72199999999999998</c:v>
                </c:pt>
                <c:pt idx="156">
                  <c:v>0.71699999999999997</c:v>
                </c:pt>
                <c:pt idx="157">
                  <c:v>0.72599999999999998</c:v>
                </c:pt>
                <c:pt idx="158">
                  <c:v>0.74</c:v>
                </c:pt>
                <c:pt idx="159">
                  <c:v>0.76100000000000001</c:v>
                </c:pt>
                <c:pt idx="160">
                  <c:v>0.75600000000000001</c:v>
                </c:pt>
                <c:pt idx="161">
                  <c:v>0.78200000000000003</c:v>
                </c:pt>
                <c:pt idx="162">
                  <c:v>0.85099999999999998</c:v>
                </c:pt>
                <c:pt idx="163">
                  <c:v>0.86499999999999999</c:v>
                </c:pt>
                <c:pt idx="164">
                  <c:v>0.92600000000000005</c:v>
                </c:pt>
                <c:pt idx="165">
                  <c:v>0.95099999999999996</c:v>
                </c:pt>
                <c:pt idx="166">
                  <c:v>0.95099999999999996</c:v>
                </c:pt>
                <c:pt idx="167">
                  <c:v>0.98199999999999998</c:v>
                </c:pt>
                <c:pt idx="168">
                  <c:v>0.98799999999999999</c:v>
                </c:pt>
                <c:pt idx="169">
                  <c:v>0.98199999999999998</c:v>
                </c:pt>
                <c:pt idx="170">
                  <c:v>0.95799999999999996</c:v>
                </c:pt>
                <c:pt idx="171">
                  <c:v>0.96399999999999997</c:v>
                </c:pt>
                <c:pt idx="172">
                  <c:v>0.93600000000000005</c:v>
                </c:pt>
                <c:pt idx="173">
                  <c:v>0.95299999999999996</c:v>
                </c:pt>
                <c:pt idx="174">
                  <c:v>0.97699999999999998</c:v>
                </c:pt>
                <c:pt idx="175">
                  <c:v>1</c:v>
                </c:pt>
                <c:pt idx="176">
                  <c:v>0.99399999999999999</c:v>
                </c:pt>
                <c:pt idx="177">
                  <c:v>0.98799999999999999</c:v>
                </c:pt>
                <c:pt idx="178">
                  <c:v>1</c:v>
                </c:pt>
                <c:pt idx="179">
                  <c:v>0.98299999999999998</c:v>
                </c:pt>
                <c:pt idx="180">
                  <c:v>0.98799999999999999</c:v>
                </c:pt>
                <c:pt idx="181">
                  <c:v>0.98799999999999999</c:v>
                </c:pt>
                <c:pt idx="182">
                  <c:v>0.99399999999999999</c:v>
                </c:pt>
                <c:pt idx="183">
                  <c:v>0.97799999999999998</c:v>
                </c:pt>
                <c:pt idx="184">
                  <c:v>0.99399999999999999</c:v>
                </c:pt>
                <c:pt idx="185">
                  <c:v>0.98899999999999999</c:v>
                </c:pt>
                <c:pt idx="186">
                  <c:v>0.98299999999999998</c:v>
                </c:pt>
                <c:pt idx="187">
                  <c:v>0.95099999999999996</c:v>
                </c:pt>
                <c:pt idx="188">
                  <c:v>0.91400000000000003</c:v>
                </c:pt>
                <c:pt idx="189">
                  <c:v>0.85099999999999998</c:v>
                </c:pt>
                <c:pt idx="190">
                  <c:v>0.83099999999999996</c:v>
                </c:pt>
                <c:pt idx="191">
                  <c:v>0.86299999999999999</c:v>
                </c:pt>
                <c:pt idx="192">
                  <c:v>0.84299999999999997</c:v>
                </c:pt>
                <c:pt idx="193">
                  <c:v>0.82899999999999996</c:v>
                </c:pt>
                <c:pt idx="194">
                  <c:v>0.80900000000000005</c:v>
                </c:pt>
                <c:pt idx="195">
                  <c:v>0.85599999999999998</c:v>
                </c:pt>
                <c:pt idx="196">
                  <c:v>0.877</c:v>
                </c:pt>
                <c:pt idx="197">
                  <c:v>0.89800000000000002</c:v>
                </c:pt>
                <c:pt idx="198">
                  <c:v>0.86799999999999999</c:v>
                </c:pt>
                <c:pt idx="199">
                  <c:v>0.89400000000000002</c:v>
                </c:pt>
                <c:pt idx="200">
                  <c:v>0.9</c:v>
                </c:pt>
                <c:pt idx="201">
                  <c:v>0.9</c:v>
                </c:pt>
                <c:pt idx="202">
                  <c:v>0.88600000000000001</c:v>
                </c:pt>
                <c:pt idx="203">
                  <c:v>0.89100000000000001</c:v>
                </c:pt>
                <c:pt idx="204">
                  <c:v>0.88200000000000001</c:v>
                </c:pt>
                <c:pt idx="205">
                  <c:v>0.86799999999999999</c:v>
                </c:pt>
                <c:pt idx="206">
                  <c:v>0.90700000000000003</c:v>
                </c:pt>
                <c:pt idx="207">
                  <c:v>0.92700000000000005</c:v>
                </c:pt>
                <c:pt idx="208">
                  <c:v>0.91800000000000004</c:v>
                </c:pt>
                <c:pt idx="209">
                  <c:v>0.92800000000000005</c:v>
                </c:pt>
                <c:pt idx="210">
                  <c:v>0.91400000000000003</c:v>
                </c:pt>
                <c:pt idx="211">
                  <c:v>0.92800000000000005</c:v>
                </c:pt>
                <c:pt idx="212">
                  <c:v>0.872</c:v>
                </c:pt>
                <c:pt idx="213">
                  <c:v>0.877</c:v>
                </c:pt>
                <c:pt idx="214">
                  <c:v>0.878</c:v>
                </c:pt>
                <c:pt idx="215">
                  <c:v>0.92</c:v>
                </c:pt>
                <c:pt idx="216">
                  <c:v>0.92500000000000004</c:v>
                </c:pt>
                <c:pt idx="217">
                  <c:v>0.92100000000000004</c:v>
                </c:pt>
                <c:pt idx="218">
                  <c:v>0.93500000000000005</c:v>
                </c:pt>
                <c:pt idx="219">
                  <c:v>0.94499999999999995</c:v>
                </c:pt>
                <c:pt idx="220">
                  <c:v>0.95899999999999996</c:v>
                </c:pt>
                <c:pt idx="221">
                  <c:v>0.95899999999999996</c:v>
                </c:pt>
                <c:pt idx="222">
                  <c:v>0.92700000000000005</c:v>
                </c:pt>
                <c:pt idx="223">
                  <c:v>0.93200000000000005</c:v>
                </c:pt>
                <c:pt idx="224">
                  <c:v>0.91</c:v>
                </c:pt>
                <c:pt idx="225">
                  <c:v>0.81699999999999995</c:v>
                </c:pt>
                <c:pt idx="226">
                  <c:v>0.747</c:v>
                </c:pt>
                <c:pt idx="227">
                  <c:v>0.74</c:v>
                </c:pt>
                <c:pt idx="228">
                  <c:v>0.68400000000000005</c:v>
                </c:pt>
                <c:pt idx="229">
                  <c:v>0.66800000000000004</c:v>
                </c:pt>
                <c:pt idx="230">
                  <c:v>0.66</c:v>
                </c:pt>
                <c:pt idx="231">
                  <c:v>0.67900000000000005</c:v>
                </c:pt>
                <c:pt idx="232">
                  <c:v>0.62</c:v>
                </c:pt>
                <c:pt idx="233">
                  <c:v>0.58299999999999996</c:v>
                </c:pt>
                <c:pt idx="234">
                  <c:v>0.59799999999999998</c:v>
                </c:pt>
                <c:pt idx="235">
                  <c:v>0.625</c:v>
                </c:pt>
                <c:pt idx="236">
                  <c:v>0.69</c:v>
                </c:pt>
                <c:pt idx="237">
                  <c:v>0.70399999999999996</c:v>
                </c:pt>
                <c:pt idx="238">
                  <c:v>0.71</c:v>
                </c:pt>
                <c:pt idx="239">
                  <c:v>0.75700000000000001</c:v>
                </c:pt>
                <c:pt idx="240">
                  <c:v>0.85399999999999998</c:v>
                </c:pt>
                <c:pt idx="241">
                  <c:v>0.871</c:v>
                </c:pt>
                <c:pt idx="242">
                  <c:v>0.86699999999999999</c:v>
                </c:pt>
                <c:pt idx="243">
                  <c:v>0.93799999999999994</c:v>
                </c:pt>
                <c:pt idx="244">
                  <c:v>0.92200000000000004</c:v>
                </c:pt>
                <c:pt idx="245">
                  <c:v>0.96299999999999997</c:v>
                </c:pt>
                <c:pt idx="246">
                  <c:v>0.96699999999999997</c:v>
                </c:pt>
                <c:pt idx="247">
                  <c:v>1</c:v>
                </c:pt>
                <c:pt idx="248">
                  <c:v>1</c:v>
                </c:pt>
                <c:pt idx="249">
                  <c:v>0.995</c:v>
                </c:pt>
                <c:pt idx="250">
                  <c:v>0.876</c:v>
                </c:pt>
                <c:pt idx="251">
                  <c:v>0.93200000000000005</c:v>
                </c:pt>
                <c:pt idx="252">
                  <c:v>0.94399999999999995</c:v>
                </c:pt>
                <c:pt idx="253">
                  <c:v>0.91300000000000003</c:v>
                </c:pt>
                <c:pt idx="254">
                  <c:v>0.86199999999999999</c:v>
                </c:pt>
                <c:pt idx="255">
                  <c:v>0.89800000000000002</c:v>
                </c:pt>
                <c:pt idx="256">
                  <c:v>0.83199999999999996</c:v>
                </c:pt>
                <c:pt idx="257">
                  <c:v>0.80900000000000005</c:v>
                </c:pt>
                <c:pt idx="258">
                  <c:v>0.81699999999999995</c:v>
                </c:pt>
                <c:pt idx="259">
                  <c:v>0.88400000000000001</c:v>
                </c:pt>
                <c:pt idx="260">
                  <c:v>0.92300000000000004</c:v>
                </c:pt>
                <c:pt idx="261">
                  <c:v>0.97699999999999998</c:v>
                </c:pt>
                <c:pt idx="262">
                  <c:v>0.96099999999999997</c:v>
                </c:pt>
                <c:pt idx="263">
                  <c:v>0.91600000000000004</c:v>
                </c:pt>
                <c:pt idx="264">
                  <c:v>0.80300000000000005</c:v>
                </c:pt>
                <c:pt idx="265">
                  <c:v>0.76600000000000001</c:v>
                </c:pt>
                <c:pt idx="266">
                  <c:v>0.73599999999999999</c:v>
                </c:pt>
                <c:pt idx="267">
                  <c:v>0.71499999999999997</c:v>
                </c:pt>
                <c:pt idx="268">
                  <c:v>0.72</c:v>
                </c:pt>
                <c:pt idx="269">
                  <c:v>0.70199999999999996</c:v>
                </c:pt>
                <c:pt idx="270">
                  <c:v>0.7</c:v>
                </c:pt>
                <c:pt idx="271">
                  <c:v>0.69699999999999995</c:v>
                </c:pt>
                <c:pt idx="272">
                  <c:v>0.67200000000000004</c:v>
                </c:pt>
                <c:pt idx="273">
                  <c:v>0.65900000000000003</c:v>
                </c:pt>
                <c:pt idx="274">
                  <c:v>0.68600000000000005</c:v>
                </c:pt>
                <c:pt idx="275">
                  <c:v>0.68700000000000006</c:v>
                </c:pt>
                <c:pt idx="276">
                  <c:v>0.65500000000000003</c:v>
                </c:pt>
                <c:pt idx="277">
                  <c:v>0.72199999999999998</c:v>
                </c:pt>
                <c:pt idx="278">
                  <c:v>0.70099999999999996</c:v>
                </c:pt>
                <c:pt idx="279">
                  <c:v>0.70599999999999996</c:v>
                </c:pt>
                <c:pt idx="280">
                  <c:v>0.67800000000000005</c:v>
                </c:pt>
                <c:pt idx="281">
                  <c:v>0.60399999999999998</c:v>
                </c:pt>
                <c:pt idx="282">
                  <c:v>0.58799999999999997</c:v>
                </c:pt>
                <c:pt idx="283">
                  <c:v>0.57499999999999996</c:v>
                </c:pt>
                <c:pt idx="284">
                  <c:v>0.56599999999999995</c:v>
                </c:pt>
                <c:pt idx="285">
                  <c:v>0.59599999999999997</c:v>
                </c:pt>
                <c:pt idx="286">
                  <c:v>0.58699999999999997</c:v>
                </c:pt>
                <c:pt idx="287">
                  <c:v>0.623</c:v>
                </c:pt>
                <c:pt idx="288">
                  <c:v>0.57899999999999996</c:v>
                </c:pt>
                <c:pt idx="289">
                  <c:v>0.57699999999999996</c:v>
                </c:pt>
                <c:pt idx="290">
                  <c:v>0.55500000000000005</c:v>
                </c:pt>
                <c:pt idx="291">
                  <c:v>0.57999999999999996</c:v>
                </c:pt>
                <c:pt idx="292">
                  <c:v>0.547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C9-4AC8-868D-08B3307A4B78}"/>
            </c:ext>
          </c:extLst>
        </c:ser>
        <c:ser>
          <c:idx val="4"/>
          <c:order val="5"/>
          <c:tx>
            <c:strRef>
              <c:f>股票择时信号!$AF$7</c:f>
              <c:strCache>
                <c:ptCount val="1"/>
                <c:pt idx="0">
                  <c:v>CPI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3</c:f>
              <c:numCache>
                <c:formatCode>yyyy\-mm\-dd</c:formatCode>
                <c:ptCount val="293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</c:numCache>
            </c:numRef>
          </c:cat>
          <c:val>
            <c:numRef>
              <c:f>股票择时信号!$AF$11:$AF$303</c:f>
              <c:numCache>
                <c:formatCode>0.0%</c:formatCode>
                <c:ptCount val="29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.307</c:v>
                </c:pt>
                <c:pt idx="14">
                  <c:v>0.28499999999999998</c:v>
                </c:pt>
                <c:pt idx="15">
                  <c:v>0.26600000000000001</c:v>
                </c:pt>
                <c:pt idx="16">
                  <c:v>0.25</c:v>
                </c:pt>
                <c:pt idx="17">
                  <c:v>0.23499999999999999</c:v>
                </c:pt>
                <c:pt idx="18">
                  <c:v>0.5</c:v>
                </c:pt>
                <c:pt idx="19">
                  <c:v>0.47299999999999998</c:v>
                </c:pt>
                <c:pt idx="20">
                  <c:v>0.45</c:v>
                </c:pt>
                <c:pt idx="21">
                  <c:v>0.42799999999999999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.125</c:v>
                </c:pt>
                <c:pt idx="41">
                  <c:v>0.121</c:v>
                </c:pt>
                <c:pt idx="42">
                  <c:v>0.11899999999999999</c:v>
                </c:pt>
                <c:pt idx="43">
                  <c:v>0.11600000000000001</c:v>
                </c:pt>
                <c:pt idx="44">
                  <c:v>0.113</c:v>
                </c:pt>
                <c:pt idx="45">
                  <c:v>0.111</c:v>
                </c:pt>
                <c:pt idx="46">
                  <c:v>0.108</c:v>
                </c:pt>
                <c:pt idx="47">
                  <c:v>0.106</c:v>
                </c:pt>
                <c:pt idx="48">
                  <c:v>0.187</c:v>
                </c:pt>
                <c:pt idx="49">
                  <c:v>0.183</c:v>
                </c:pt>
                <c:pt idx="50">
                  <c:v>0.18</c:v>
                </c:pt>
                <c:pt idx="51">
                  <c:v>0.17599999999999999</c:v>
                </c:pt>
                <c:pt idx="52">
                  <c:v>0.32600000000000001</c:v>
                </c:pt>
                <c:pt idx="53">
                  <c:v>0.32</c:v>
                </c:pt>
                <c:pt idx="54">
                  <c:v>0.314</c:v>
                </c:pt>
                <c:pt idx="55">
                  <c:v>0.309</c:v>
                </c:pt>
                <c:pt idx="56">
                  <c:v>0.30299999999999999</c:v>
                </c:pt>
                <c:pt idx="57">
                  <c:v>0.45600000000000002</c:v>
                </c:pt>
                <c:pt idx="58">
                  <c:v>0.44800000000000001</c:v>
                </c:pt>
                <c:pt idx="59">
                  <c:v>0.44</c:v>
                </c:pt>
                <c:pt idx="60">
                  <c:v>0.433</c:v>
                </c:pt>
                <c:pt idx="61">
                  <c:v>0.49099999999999999</c:v>
                </c:pt>
                <c:pt idx="62">
                  <c:v>0.48299999999999998</c:v>
                </c:pt>
                <c:pt idx="63">
                  <c:v>0.47599999999999998</c:v>
                </c:pt>
                <c:pt idx="64">
                  <c:v>0.46800000000000003</c:v>
                </c:pt>
                <c:pt idx="65">
                  <c:v>0.46100000000000002</c:v>
                </c:pt>
                <c:pt idx="66">
                  <c:v>0.45400000000000001</c:v>
                </c:pt>
                <c:pt idx="67">
                  <c:v>0.44700000000000001</c:v>
                </c:pt>
                <c:pt idx="68">
                  <c:v>0.441</c:v>
                </c:pt>
                <c:pt idx="69">
                  <c:v>0.434</c:v>
                </c:pt>
                <c:pt idx="70">
                  <c:v>0.42799999999999999</c:v>
                </c:pt>
                <c:pt idx="71">
                  <c:v>0.42199999999999999</c:v>
                </c:pt>
                <c:pt idx="72">
                  <c:v>0.41599999999999998</c:v>
                </c:pt>
                <c:pt idx="73">
                  <c:v>0.41</c:v>
                </c:pt>
                <c:pt idx="74">
                  <c:v>0.35099999999999998</c:v>
                </c:pt>
                <c:pt idx="75">
                  <c:v>0.34599999999999997</c:v>
                </c:pt>
                <c:pt idx="76">
                  <c:v>0.34200000000000003</c:v>
                </c:pt>
                <c:pt idx="77">
                  <c:v>0.33700000000000002</c:v>
                </c:pt>
                <c:pt idx="78">
                  <c:v>0.33300000000000002</c:v>
                </c:pt>
                <c:pt idx="79">
                  <c:v>0.32900000000000001</c:v>
                </c:pt>
                <c:pt idx="80">
                  <c:v>0.32500000000000001</c:v>
                </c:pt>
                <c:pt idx="81">
                  <c:v>0.32</c:v>
                </c:pt>
                <c:pt idx="82">
                  <c:v>0.317</c:v>
                </c:pt>
                <c:pt idx="83">
                  <c:v>0.626</c:v>
                </c:pt>
                <c:pt idx="84">
                  <c:v>0.61899999999999999</c:v>
                </c:pt>
                <c:pt idx="85">
                  <c:v>0.61099999999999999</c:v>
                </c:pt>
                <c:pt idx="86">
                  <c:v>0.60399999999999998</c:v>
                </c:pt>
                <c:pt idx="87">
                  <c:v>0.68899999999999995</c:v>
                </c:pt>
                <c:pt idx="88">
                  <c:v>0.68100000000000005</c:v>
                </c:pt>
                <c:pt idx="89">
                  <c:v>0.67400000000000004</c:v>
                </c:pt>
                <c:pt idx="90">
                  <c:v>0.66600000000000004</c:v>
                </c:pt>
                <c:pt idx="91">
                  <c:v>0.65900000000000003</c:v>
                </c:pt>
                <c:pt idx="92">
                  <c:v>0.56499999999999995</c:v>
                </c:pt>
                <c:pt idx="93">
                  <c:v>0.55900000000000005</c:v>
                </c:pt>
                <c:pt idx="94">
                  <c:v>0.55300000000000005</c:v>
                </c:pt>
                <c:pt idx="95">
                  <c:v>0.54700000000000004</c:v>
                </c:pt>
                <c:pt idx="96">
                  <c:v>0.54100000000000004</c:v>
                </c:pt>
                <c:pt idx="97">
                  <c:v>0.36</c:v>
                </c:pt>
                <c:pt idx="98">
                  <c:v>0.35699999999999998</c:v>
                </c:pt>
                <c:pt idx="99">
                  <c:v>0.35299999999999998</c:v>
                </c:pt>
                <c:pt idx="100">
                  <c:v>0.35</c:v>
                </c:pt>
                <c:pt idx="101">
                  <c:v>0.34599999999999997</c:v>
                </c:pt>
                <c:pt idx="102">
                  <c:v>0.34300000000000003</c:v>
                </c:pt>
                <c:pt idx="103">
                  <c:v>0.33900000000000002</c:v>
                </c:pt>
                <c:pt idx="104">
                  <c:v>0.33600000000000002</c:v>
                </c:pt>
                <c:pt idx="105">
                  <c:v>0.57099999999999995</c:v>
                </c:pt>
                <c:pt idx="106">
                  <c:v>0.56599999999999995</c:v>
                </c:pt>
                <c:pt idx="107">
                  <c:v>0.56000000000000005</c:v>
                </c:pt>
                <c:pt idx="108">
                  <c:v>0.55500000000000005</c:v>
                </c:pt>
                <c:pt idx="109">
                  <c:v>0.70599999999999996</c:v>
                </c:pt>
                <c:pt idx="110">
                  <c:v>0.7</c:v>
                </c:pt>
                <c:pt idx="111">
                  <c:v>0.69299999999999995</c:v>
                </c:pt>
                <c:pt idx="112">
                  <c:v>0.68700000000000006</c:v>
                </c:pt>
                <c:pt idx="113">
                  <c:v>0.68100000000000005</c:v>
                </c:pt>
                <c:pt idx="114">
                  <c:v>0.67500000000000004</c:v>
                </c:pt>
                <c:pt idx="115">
                  <c:v>0.66900000000000004</c:v>
                </c:pt>
                <c:pt idx="116">
                  <c:v>0.66300000000000003</c:v>
                </c:pt>
                <c:pt idx="117">
                  <c:v>0.84599999999999997</c:v>
                </c:pt>
                <c:pt idx="118">
                  <c:v>0.83799999999999997</c:v>
                </c:pt>
                <c:pt idx="119">
                  <c:v>0.83099999999999996</c:v>
                </c:pt>
                <c:pt idx="120">
                  <c:v>0.82499999999999996</c:v>
                </c:pt>
                <c:pt idx="121">
                  <c:v>0.81799999999999995</c:v>
                </c:pt>
                <c:pt idx="122">
                  <c:v>0.89300000000000002</c:v>
                </c:pt>
                <c:pt idx="123">
                  <c:v>0.88600000000000001</c:v>
                </c:pt>
                <c:pt idx="124">
                  <c:v>0.879</c:v>
                </c:pt>
                <c:pt idx="125">
                  <c:v>0.872</c:v>
                </c:pt>
                <c:pt idx="126">
                  <c:v>0.78500000000000003</c:v>
                </c:pt>
                <c:pt idx="127">
                  <c:v>0.77900000000000003</c:v>
                </c:pt>
                <c:pt idx="128">
                  <c:v>0.77300000000000002</c:v>
                </c:pt>
                <c:pt idx="129">
                  <c:v>0.76700000000000002</c:v>
                </c:pt>
                <c:pt idx="130">
                  <c:v>0.76100000000000001</c:v>
                </c:pt>
                <c:pt idx="131">
                  <c:v>0.93100000000000005</c:v>
                </c:pt>
                <c:pt idx="132">
                  <c:v>0.92400000000000004</c:v>
                </c:pt>
                <c:pt idx="133">
                  <c:v>0.91700000000000004</c:v>
                </c:pt>
                <c:pt idx="134">
                  <c:v>0.91</c:v>
                </c:pt>
                <c:pt idx="135">
                  <c:v>0.56999999999999995</c:v>
                </c:pt>
                <c:pt idx="136">
                  <c:v>0.56599999999999995</c:v>
                </c:pt>
                <c:pt idx="137">
                  <c:v>0.56200000000000006</c:v>
                </c:pt>
                <c:pt idx="138">
                  <c:v>0.55700000000000005</c:v>
                </c:pt>
                <c:pt idx="139">
                  <c:v>0.52500000000000002</c:v>
                </c:pt>
                <c:pt idx="140">
                  <c:v>0.52100000000000002</c:v>
                </c:pt>
                <c:pt idx="141">
                  <c:v>0.51700000000000002</c:v>
                </c:pt>
                <c:pt idx="142">
                  <c:v>0.51400000000000001</c:v>
                </c:pt>
                <c:pt idx="143">
                  <c:v>0.51</c:v>
                </c:pt>
                <c:pt idx="144">
                  <c:v>0.56899999999999995</c:v>
                </c:pt>
                <c:pt idx="145">
                  <c:v>0.56499999999999995</c:v>
                </c:pt>
                <c:pt idx="146">
                  <c:v>0.56100000000000005</c:v>
                </c:pt>
                <c:pt idx="147">
                  <c:v>0.55700000000000005</c:v>
                </c:pt>
                <c:pt idx="148">
                  <c:v>0.58099999999999996</c:v>
                </c:pt>
                <c:pt idx="149">
                  <c:v>0.57699999999999996</c:v>
                </c:pt>
                <c:pt idx="150">
                  <c:v>0.57299999999999995</c:v>
                </c:pt>
                <c:pt idx="151">
                  <c:v>0.56899999999999995</c:v>
                </c:pt>
                <c:pt idx="152">
                  <c:v>0.309</c:v>
                </c:pt>
                <c:pt idx="153">
                  <c:v>0.307</c:v>
                </c:pt>
                <c:pt idx="154">
                  <c:v>0.30499999999999999</c:v>
                </c:pt>
                <c:pt idx="155">
                  <c:v>0.30299999999999999</c:v>
                </c:pt>
                <c:pt idx="156">
                  <c:v>0.30099999999999999</c:v>
                </c:pt>
                <c:pt idx="157">
                  <c:v>0.16500000000000001</c:v>
                </c:pt>
                <c:pt idx="158">
                  <c:v>0.16400000000000001</c:v>
                </c:pt>
                <c:pt idx="159">
                  <c:v>0.16300000000000001</c:v>
                </c:pt>
                <c:pt idx="160">
                  <c:v>0.16200000000000001</c:v>
                </c:pt>
                <c:pt idx="161">
                  <c:v>0.08</c:v>
                </c:pt>
                <c:pt idx="162">
                  <c:v>0.08</c:v>
                </c:pt>
                <c:pt idx="163">
                  <c:v>7.9000000000000001E-2</c:v>
                </c:pt>
                <c:pt idx="164">
                  <c:v>7.9000000000000001E-2</c:v>
                </c:pt>
                <c:pt idx="165">
                  <c:v>0.10299999999999999</c:v>
                </c:pt>
                <c:pt idx="166">
                  <c:v>0.10199999999999999</c:v>
                </c:pt>
                <c:pt idx="167">
                  <c:v>0.10100000000000001</c:v>
                </c:pt>
                <c:pt idx="168">
                  <c:v>0.10100000000000001</c:v>
                </c:pt>
                <c:pt idx="169">
                  <c:v>0.1</c:v>
                </c:pt>
                <c:pt idx="170">
                  <c:v>7.5999999999999998E-2</c:v>
                </c:pt>
                <c:pt idx="171">
                  <c:v>7.5999999999999998E-2</c:v>
                </c:pt>
                <c:pt idx="172">
                  <c:v>7.4999999999999997E-2</c:v>
                </c:pt>
                <c:pt idx="173">
                  <c:v>7.4999999999999997E-2</c:v>
                </c:pt>
                <c:pt idx="174">
                  <c:v>2.8000000000000001E-2</c:v>
                </c:pt>
                <c:pt idx="175">
                  <c:v>2.8000000000000001E-2</c:v>
                </c:pt>
                <c:pt idx="176">
                  <c:v>2.8000000000000001E-2</c:v>
                </c:pt>
                <c:pt idx="177">
                  <c:v>2.8000000000000001E-2</c:v>
                </c:pt>
                <c:pt idx="178">
                  <c:v>0.11700000000000001</c:v>
                </c:pt>
                <c:pt idx="179">
                  <c:v>0.11700000000000001</c:v>
                </c:pt>
                <c:pt idx="180">
                  <c:v>0.11600000000000001</c:v>
                </c:pt>
                <c:pt idx="181">
                  <c:v>0.11600000000000001</c:v>
                </c:pt>
                <c:pt idx="182">
                  <c:v>0.115</c:v>
                </c:pt>
                <c:pt idx="183">
                  <c:v>9.1999999999999998E-2</c:v>
                </c:pt>
                <c:pt idx="184">
                  <c:v>9.1999999999999998E-2</c:v>
                </c:pt>
                <c:pt idx="185">
                  <c:v>9.0999999999999998E-2</c:v>
                </c:pt>
                <c:pt idx="186">
                  <c:v>9.0999999999999998E-2</c:v>
                </c:pt>
                <c:pt idx="187">
                  <c:v>6.9000000000000006E-2</c:v>
                </c:pt>
                <c:pt idx="188">
                  <c:v>6.9000000000000006E-2</c:v>
                </c:pt>
                <c:pt idx="189">
                  <c:v>6.8000000000000005E-2</c:v>
                </c:pt>
                <c:pt idx="190">
                  <c:v>6.8000000000000005E-2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5.0999999999999997E-2</c:v>
                </c:pt>
                <c:pt idx="197">
                  <c:v>0.05</c:v>
                </c:pt>
                <c:pt idx="198">
                  <c:v>0.05</c:v>
                </c:pt>
                <c:pt idx="199">
                  <c:v>0.05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.33800000000000002</c:v>
                </c:pt>
                <c:pt idx="205">
                  <c:v>0.33600000000000002</c:v>
                </c:pt>
                <c:pt idx="206">
                  <c:v>0.33400000000000002</c:v>
                </c:pt>
                <c:pt idx="207">
                  <c:v>0.33300000000000002</c:v>
                </c:pt>
                <c:pt idx="208">
                  <c:v>0.33100000000000002</c:v>
                </c:pt>
                <c:pt idx="209">
                  <c:v>0.2</c:v>
                </c:pt>
                <c:pt idx="210">
                  <c:v>0.2</c:v>
                </c:pt>
                <c:pt idx="211">
                  <c:v>0.19900000000000001</c:v>
                </c:pt>
                <c:pt idx="212">
                  <c:v>0.19800000000000001</c:v>
                </c:pt>
                <c:pt idx="213">
                  <c:v>0.3</c:v>
                </c:pt>
                <c:pt idx="214">
                  <c:v>0.29899999999999999</c:v>
                </c:pt>
                <c:pt idx="215">
                  <c:v>0.29699999999999999</c:v>
                </c:pt>
                <c:pt idx="216">
                  <c:v>0.29599999999999999</c:v>
                </c:pt>
                <c:pt idx="217">
                  <c:v>0.29399999999999998</c:v>
                </c:pt>
                <c:pt idx="218">
                  <c:v>0.29299999999999998</c:v>
                </c:pt>
                <c:pt idx="219">
                  <c:v>0.29199999999999998</c:v>
                </c:pt>
                <c:pt idx="220">
                  <c:v>0.28999999999999998</c:v>
                </c:pt>
                <c:pt idx="221">
                  <c:v>0.28899999999999998</c:v>
                </c:pt>
                <c:pt idx="222">
                  <c:v>0.247</c:v>
                </c:pt>
                <c:pt idx="223">
                  <c:v>0.246</c:v>
                </c:pt>
                <c:pt idx="224">
                  <c:v>0.245</c:v>
                </c:pt>
                <c:pt idx="225">
                  <c:v>0.24399999999999999</c:v>
                </c:pt>
                <c:pt idx="226">
                  <c:v>0.36199999999999999</c:v>
                </c:pt>
                <c:pt idx="227">
                  <c:v>0.36099999999999999</c:v>
                </c:pt>
                <c:pt idx="228">
                  <c:v>0.35899999999999999</c:v>
                </c:pt>
                <c:pt idx="229">
                  <c:v>0.35799999999999998</c:v>
                </c:pt>
                <c:pt idx="230">
                  <c:v>0.35599999999999998</c:v>
                </c:pt>
                <c:pt idx="231">
                  <c:v>0.39300000000000002</c:v>
                </c:pt>
                <c:pt idx="232">
                  <c:v>0.39200000000000002</c:v>
                </c:pt>
                <c:pt idx="233">
                  <c:v>0.39</c:v>
                </c:pt>
                <c:pt idx="234">
                  <c:v>0.38800000000000001</c:v>
                </c:pt>
                <c:pt idx="235">
                  <c:v>0.32700000000000001</c:v>
                </c:pt>
                <c:pt idx="236">
                  <c:v>0.32600000000000001</c:v>
                </c:pt>
                <c:pt idx="237">
                  <c:v>0.32400000000000001</c:v>
                </c:pt>
                <c:pt idx="238">
                  <c:v>0.32300000000000001</c:v>
                </c:pt>
                <c:pt idx="239">
                  <c:v>0.28399999999999997</c:v>
                </c:pt>
                <c:pt idx="240">
                  <c:v>0.28299999999999997</c:v>
                </c:pt>
                <c:pt idx="241">
                  <c:v>0.28199999999999997</c:v>
                </c:pt>
                <c:pt idx="242">
                  <c:v>0.28000000000000003</c:v>
                </c:pt>
                <c:pt idx="243">
                  <c:v>0.27900000000000003</c:v>
                </c:pt>
                <c:pt idx="244">
                  <c:v>0.22500000000000001</c:v>
                </c:pt>
                <c:pt idx="245">
                  <c:v>0.224</c:v>
                </c:pt>
                <c:pt idx="246">
                  <c:v>0.223</c:v>
                </c:pt>
                <c:pt idx="247">
                  <c:v>0.222</c:v>
                </c:pt>
                <c:pt idx="248">
                  <c:v>0.16900000000000001</c:v>
                </c:pt>
                <c:pt idx="249">
                  <c:v>0.16800000000000001</c:v>
                </c:pt>
                <c:pt idx="250">
                  <c:v>0.16800000000000001</c:v>
                </c:pt>
                <c:pt idx="251">
                  <c:v>0.16700000000000001</c:v>
                </c:pt>
                <c:pt idx="252">
                  <c:v>0.39200000000000002</c:v>
                </c:pt>
                <c:pt idx="253">
                  <c:v>0.39100000000000001</c:v>
                </c:pt>
                <c:pt idx="254">
                  <c:v>0.38900000000000001</c:v>
                </c:pt>
                <c:pt idx="255">
                  <c:v>0.38800000000000001</c:v>
                </c:pt>
                <c:pt idx="256">
                  <c:v>1.4999999999999999E-2</c:v>
                </c:pt>
                <c:pt idx="257">
                  <c:v>1.4999999999999999E-2</c:v>
                </c:pt>
                <c:pt idx="258">
                  <c:v>1.4999999999999999E-2</c:v>
                </c:pt>
                <c:pt idx="259">
                  <c:v>1.4999999999999999E-2</c:v>
                </c:pt>
                <c:pt idx="260">
                  <c:v>1.4999999999999999E-2</c:v>
                </c:pt>
                <c:pt idx="261">
                  <c:v>0.14899999999999999</c:v>
                </c:pt>
                <c:pt idx="262">
                  <c:v>0.14799999999999999</c:v>
                </c:pt>
                <c:pt idx="263">
                  <c:v>0.14799999999999999</c:v>
                </c:pt>
                <c:pt idx="264">
                  <c:v>0.14699999999999999</c:v>
                </c:pt>
                <c:pt idx="265">
                  <c:v>0.14699999999999999</c:v>
                </c:pt>
                <c:pt idx="266">
                  <c:v>0.14599999999999999</c:v>
                </c:pt>
                <c:pt idx="267">
                  <c:v>0.14599999999999999</c:v>
                </c:pt>
                <c:pt idx="268">
                  <c:v>0.14499999999999999</c:v>
                </c:pt>
                <c:pt idx="269">
                  <c:v>0.14399999999999999</c:v>
                </c:pt>
                <c:pt idx="270">
                  <c:v>0.14399999999999999</c:v>
                </c:pt>
                <c:pt idx="271">
                  <c:v>0.14299999999999999</c:v>
                </c:pt>
                <c:pt idx="272">
                  <c:v>0.14299999999999999</c:v>
                </c:pt>
                <c:pt idx="273">
                  <c:v>0.14199999999999999</c:v>
                </c:pt>
                <c:pt idx="274">
                  <c:v>0.218</c:v>
                </c:pt>
                <c:pt idx="275">
                  <c:v>0.218</c:v>
                </c:pt>
                <c:pt idx="276">
                  <c:v>0.217</c:v>
                </c:pt>
                <c:pt idx="277">
                  <c:v>0.216</c:v>
                </c:pt>
                <c:pt idx="278">
                  <c:v>0.187</c:v>
                </c:pt>
                <c:pt idx="279">
                  <c:v>0.186</c:v>
                </c:pt>
                <c:pt idx="280">
                  <c:v>0.185</c:v>
                </c:pt>
                <c:pt idx="281">
                  <c:v>0.185</c:v>
                </c:pt>
                <c:pt idx="282">
                  <c:v>0.184</c:v>
                </c:pt>
                <c:pt idx="283">
                  <c:v>6.7000000000000004E-2</c:v>
                </c:pt>
                <c:pt idx="284">
                  <c:v>6.6000000000000003E-2</c:v>
                </c:pt>
                <c:pt idx="285">
                  <c:v>6.6000000000000003E-2</c:v>
                </c:pt>
                <c:pt idx="286">
                  <c:v>6.6000000000000003E-2</c:v>
                </c:pt>
                <c:pt idx="287">
                  <c:v>6.6000000000000003E-2</c:v>
                </c:pt>
                <c:pt idx="288">
                  <c:v>8.3000000000000004E-2</c:v>
                </c:pt>
                <c:pt idx="289">
                  <c:v>8.3000000000000004E-2</c:v>
                </c:pt>
                <c:pt idx="290">
                  <c:v>8.2000000000000003E-2</c:v>
                </c:pt>
                <c:pt idx="291">
                  <c:v>0.32300000000000001</c:v>
                </c:pt>
                <c:pt idx="292">
                  <c:v>0.321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7C9-4AC8-868D-08B3307A4B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06747151"/>
        <c:axId val="2006747631"/>
      </c:lineChart>
      <c:dateAx>
        <c:axId val="2006747151"/>
        <c:scaling>
          <c:orientation val="minMax"/>
          <c:min val="45658"/>
        </c:scaling>
        <c:delete val="0"/>
        <c:axPos val="b"/>
        <c:numFmt formatCode="yyyy\-mm\-dd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06747631"/>
        <c:crosses val="autoZero"/>
        <c:auto val="1"/>
        <c:lblOffset val="100"/>
        <c:baseTimeUnit val="days"/>
      </c:dateAx>
      <c:valAx>
        <c:axId val="2006747631"/>
        <c:scaling>
          <c:orientation val="minMax"/>
          <c:max val="1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067471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7179493987640433"/>
          <c:w val="1"/>
          <c:h val="0.124717333987097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zh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zh-CN" b="1"/>
              <a:t>高频经济指标同比增速</a:t>
            </a:r>
          </a:p>
        </c:rich>
      </c:tx>
      <c:layout>
        <c:manualLayout>
          <c:xMode val="edge"/>
          <c:yMode val="edge"/>
          <c:x val="0.36909326281669591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6856012325981826E-2"/>
          <c:y val="0.11572651328137817"/>
          <c:w val="0.87624881138321542"/>
          <c:h val="0.68671080659683337"/>
        </c:manualLayout>
      </c:layout>
      <c:lineChart>
        <c:grouping val="standard"/>
        <c:varyColors val="0"/>
        <c:ser>
          <c:idx val="0"/>
          <c:order val="0"/>
          <c:tx>
            <c:strRef>
              <c:f>'指数合成-1.0'!$DD$8</c:f>
              <c:strCache>
                <c:ptCount val="1"/>
                <c:pt idx="0">
                  <c:v>地产成交</c:v>
                </c:pt>
              </c:strCache>
            </c:strRef>
          </c:tx>
          <c:spPr>
            <a:ln w="28575" cap="rnd">
              <a:solidFill>
                <a:srgbClr val="004678">
                  <a:lumMod val="60000"/>
                  <a:lumOff val="4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165:$DC$369</c:f>
              <c:numCache>
                <c:formatCode>yyyy\-mm\-dd</c:formatCode>
                <c:ptCount val="205"/>
                <c:pt idx="0">
                  <c:v>44561</c:v>
                </c:pt>
                <c:pt idx="1">
                  <c:v>44568</c:v>
                </c:pt>
                <c:pt idx="2">
                  <c:v>44575</c:v>
                </c:pt>
                <c:pt idx="3">
                  <c:v>44582</c:v>
                </c:pt>
                <c:pt idx="4">
                  <c:v>44589</c:v>
                </c:pt>
                <c:pt idx="5">
                  <c:v>44596</c:v>
                </c:pt>
                <c:pt idx="6">
                  <c:v>44603</c:v>
                </c:pt>
                <c:pt idx="7">
                  <c:v>44610</c:v>
                </c:pt>
                <c:pt idx="8">
                  <c:v>44617</c:v>
                </c:pt>
                <c:pt idx="9">
                  <c:v>44624</c:v>
                </c:pt>
                <c:pt idx="10">
                  <c:v>44631</c:v>
                </c:pt>
                <c:pt idx="11">
                  <c:v>44638</c:v>
                </c:pt>
                <c:pt idx="12">
                  <c:v>44645</c:v>
                </c:pt>
                <c:pt idx="13">
                  <c:v>44652</c:v>
                </c:pt>
                <c:pt idx="14">
                  <c:v>44659</c:v>
                </c:pt>
                <c:pt idx="15">
                  <c:v>44666</c:v>
                </c:pt>
                <c:pt idx="16">
                  <c:v>44673</c:v>
                </c:pt>
                <c:pt idx="17">
                  <c:v>44680</c:v>
                </c:pt>
                <c:pt idx="18">
                  <c:v>44687</c:v>
                </c:pt>
                <c:pt idx="19">
                  <c:v>44694</c:v>
                </c:pt>
                <c:pt idx="20">
                  <c:v>44701</c:v>
                </c:pt>
                <c:pt idx="21">
                  <c:v>44708</c:v>
                </c:pt>
                <c:pt idx="22">
                  <c:v>44715</c:v>
                </c:pt>
                <c:pt idx="23">
                  <c:v>44722</c:v>
                </c:pt>
                <c:pt idx="24">
                  <c:v>44729</c:v>
                </c:pt>
                <c:pt idx="25">
                  <c:v>44736</c:v>
                </c:pt>
                <c:pt idx="26">
                  <c:v>44743</c:v>
                </c:pt>
                <c:pt idx="27">
                  <c:v>44750</c:v>
                </c:pt>
                <c:pt idx="28">
                  <c:v>44757</c:v>
                </c:pt>
                <c:pt idx="29">
                  <c:v>44764</c:v>
                </c:pt>
                <c:pt idx="30">
                  <c:v>44771</c:v>
                </c:pt>
                <c:pt idx="31">
                  <c:v>44778</c:v>
                </c:pt>
                <c:pt idx="32">
                  <c:v>44785</c:v>
                </c:pt>
                <c:pt idx="33">
                  <c:v>44792</c:v>
                </c:pt>
                <c:pt idx="34">
                  <c:v>44799</c:v>
                </c:pt>
                <c:pt idx="35">
                  <c:v>44806</c:v>
                </c:pt>
                <c:pt idx="36">
                  <c:v>44813</c:v>
                </c:pt>
                <c:pt idx="37">
                  <c:v>44820</c:v>
                </c:pt>
                <c:pt idx="38">
                  <c:v>44827</c:v>
                </c:pt>
                <c:pt idx="39">
                  <c:v>44834</c:v>
                </c:pt>
                <c:pt idx="40">
                  <c:v>44841</c:v>
                </c:pt>
                <c:pt idx="41">
                  <c:v>44848</c:v>
                </c:pt>
                <c:pt idx="42">
                  <c:v>44855</c:v>
                </c:pt>
                <c:pt idx="43">
                  <c:v>44862</c:v>
                </c:pt>
                <c:pt idx="44">
                  <c:v>44869</c:v>
                </c:pt>
                <c:pt idx="45">
                  <c:v>44876</c:v>
                </c:pt>
                <c:pt idx="46">
                  <c:v>44883</c:v>
                </c:pt>
                <c:pt idx="47">
                  <c:v>44890</c:v>
                </c:pt>
                <c:pt idx="48">
                  <c:v>44897</c:v>
                </c:pt>
                <c:pt idx="49">
                  <c:v>44904</c:v>
                </c:pt>
                <c:pt idx="50">
                  <c:v>44911</c:v>
                </c:pt>
                <c:pt idx="51">
                  <c:v>44918</c:v>
                </c:pt>
                <c:pt idx="52">
                  <c:v>44925</c:v>
                </c:pt>
                <c:pt idx="53">
                  <c:v>44932</c:v>
                </c:pt>
                <c:pt idx="54">
                  <c:v>44939</c:v>
                </c:pt>
                <c:pt idx="55">
                  <c:v>44946</c:v>
                </c:pt>
                <c:pt idx="56">
                  <c:v>44953</c:v>
                </c:pt>
                <c:pt idx="57">
                  <c:v>44960</c:v>
                </c:pt>
                <c:pt idx="58">
                  <c:v>44967</c:v>
                </c:pt>
                <c:pt idx="59">
                  <c:v>44974</c:v>
                </c:pt>
                <c:pt idx="60">
                  <c:v>44981</c:v>
                </c:pt>
                <c:pt idx="61">
                  <c:v>44988</c:v>
                </c:pt>
                <c:pt idx="62">
                  <c:v>44995</c:v>
                </c:pt>
                <c:pt idx="63">
                  <c:v>45002</c:v>
                </c:pt>
                <c:pt idx="64">
                  <c:v>45009</c:v>
                </c:pt>
                <c:pt idx="65">
                  <c:v>45016</c:v>
                </c:pt>
                <c:pt idx="66">
                  <c:v>45023</c:v>
                </c:pt>
                <c:pt idx="67">
                  <c:v>45030</c:v>
                </c:pt>
                <c:pt idx="68">
                  <c:v>45037</c:v>
                </c:pt>
                <c:pt idx="69">
                  <c:v>45044</c:v>
                </c:pt>
                <c:pt idx="70">
                  <c:v>45051</c:v>
                </c:pt>
                <c:pt idx="71">
                  <c:v>45058</c:v>
                </c:pt>
                <c:pt idx="72">
                  <c:v>45065</c:v>
                </c:pt>
                <c:pt idx="73">
                  <c:v>45072</c:v>
                </c:pt>
                <c:pt idx="74">
                  <c:v>45079</c:v>
                </c:pt>
                <c:pt idx="75">
                  <c:v>45086</c:v>
                </c:pt>
                <c:pt idx="76">
                  <c:v>45093</c:v>
                </c:pt>
                <c:pt idx="77">
                  <c:v>45100</c:v>
                </c:pt>
                <c:pt idx="78">
                  <c:v>45107</c:v>
                </c:pt>
                <c:pt idx="79">
                  <c:v>45114</c:v>
                </c:pt>
                <c:pt idx="80">
                  <c:v>45121</c:v>
                </c:pt>
                <c:pt idx="81">
                  <c:v>45128</c:v>
                </c:pt>
                <c:pt idx="82">
                  <c:v>45135</c:v>
                </c:pt>
                <c:pt idx="83">
                  <c:v>45142</c:v>
                </c:pt>
                <c:pt idx="84">
                  <c:v>45149</c:v>
                </c:pt>
                <c:pt idx="85">
                  <c:v>45156</c:v>
                </c:pt>
                <c:pt idx="86">
                  <c:v>45163</c:v>
                </c:pt>
                <c:pt idx="87">
                  <c:v>45170</c:v>
                </c:pt>
                <c:pt idx="88">
                  <c:v>45177</c:v>
                </c:pt>
                <c:pt idx="89">
                  <c:v>45184</c:v>
                </c:pt>
                <c:pt idx="90">
                  <c:v>45191</c:v>
                </c:pt>
                <c:pt idx="91">
                  <c:v>45198</c:v>
                </c:pt>
                <c:pt idx="92">
                  <c:v>45205</c:v>
                </c:pt>
                <c:pt idx="93">
                  <c:v>45212</c:v>
                </c:pt>
                <c:pt idx="94">
                  <c:v>45219</c:v>
                </c:pt>
                <c:pt idx="95">
                  <c:v>45226</c:v>
                </c:pt>
                <c:pt idx="96">
                  <c:v>45233</c:v>
                </c:pt>
                <c:pt idx="97">
                  <c:v>45240</c:v>
                </c:pt>
                <c:pt idx="98">
                  <c:v>45247</c:v>
                </c:pt>
                <c:pt idx="99">
                  <c:v>45254</c:v>
                </c:pt>
                <c:pt idx="100">
                  <c:v>45261</c:v>
                </c:pt>
                <c:pt idx="101">
                  <c:v>45268</c:v>
                </c:pt>
                <c:pt idx="102">
                  <c:v>45275</c:v>
                </c:pt>
                <c:pt idx="103">
                  <c:v>45282</c:v>
                </c:pt>
                <c:pt idx="104">
                  <c:v>45289</c:v>
                </c:pt>
                <c:pt idx="105">
                  <c:v>45296</c:v>
                </c:pt>
                <c:pt idx="106">
                  <c:v>45303</c:v>
                </c:pt>
                <c:pt idx="107">
                  <c:v>45310</c:v>
                </c:pt>
                <c:pt idx="108">
                  <c:v>45317</c:v>
                </c:pt>
                <c:pt idx="109">
                  <c:v>45324</c:v>
                </c:pt>
                <c:pt idx="110">
                  <c:v>45331</c:v>
                </c:pt>
                <c:pt idx="111">
                  <c:v>45338</c:v>
                </c:pt>
                <c:pt idx="112">
                  <c:v>45345</c:v>
                </c:pt>
                <c:pt idx="113">
                  <c:v>45352</c:v>
                </c:pt>
                <c:pt idx="114">
                  <c:v>45359</c:v>
                </c:pt>
                <c:pt idx="115">
                  <c:v>45366</c:v>
                </c:pt>
                <c:pt idx="116">
                  <c:v>45373</c:v>
                </c:pt>
                <c:pt idx="117">
                  <c:v>45380</c:v>
                </c:pt>
                <c:pt idx="118">
                  <c:v>45387</c:v>
                </c:pt>
                <c:pt idx="119">
                  <c:v>45394</c:v>
                </c:pt>
                <c:pt idx="120">
                  <c:v>45401</c:v>
                </c:pt>
                <c:pt idx="121">
                  <c:v>45408</c:v>
                </c:pt>
                <c:pt idx="122">
                  <c:v>45415</c:v>
                </c:pt>
                <c:pt idx="123">
                  <c:v>45422</c:v>
                </c:pt>
                <c:pt idx="124">
                  <c:v>45429</c:v>
                </c:pt>
                <c:pt idx="125">
                  <c:v>45436</c:v>
                </c:pt>
                <c:pt idx="126">
                  <c:v>45443</c:v>
                </c:pt>
                <c:pt idx="127">
                  <c:v>45450</c:v>
                </c:pt>
                <c:pt idx="128">
                  <c:v>45457</c:v>
                </c:pt>
                <c:pt idx="129">
                  <c:v>45464</c:v>
                </c:pt>
                <c:pt idx="130">
                  <c:v>45471</c:v>
                </c:pt>
                <c:pt idx="131">
                  <c:v>45478</c:v>
                </c:pt>
                <c:pt idx="132">
                  <c:v>45485</c:v>
                </c:pt>
                <c:pt idx="133">
                  <c:v>45492</c:v>
                </c:pt>
                <c:pt idx="134">
                  <c:v>45499</c:v>
                </c:pt>
                <c:pt idx="135">
                  <c:v>45506</c:v>
                </c:pt>
                <c:pt idx="136">
                  <c:v>45513</c:v>
                </c:pt>
                <c:pt idx="137">
                  <c:v>45520</c:v>
                </c:pt>
                <c:pt idx="138">
                  <c:v>45527</c:v>
                </c:pt>
                <c:pt idx="139">
                  <c:v>45534</c:v>
                </c:pt>
                <c:pt idx="140">
                  <c:v>45541</c:v>
                </c:pt>
                <c:pt idx="141">
                  <c:v>45548</c:v>
                </c:pt>
                <c:pt idx="142">
                  <c:v>45555</c:v>
                </c:pt>
                <c:pt idx="143">
                  <c:v>45562</c:v>
                </c:pt>
                <c:pt idx="144">
                  <c:v>45569</c:v>
                </c:pt>
                <c:pt idx="145">
                  <c:v>45576</c:v>
                </c:pt>
                <c:pt idx="146">
                  <c:v>45583</c:v>
                </c:pt>
                <c:pt idx="147">
                  <c:v>45590</c:v>
                </c:pt>
                <c:pt idx="148">
                  <c:v>45597</c:v>
                </c:pt>
                <c:pt idx="149">
                  <c:v>45604</c:v>
                </c:pt>
                <c:pt idx="150">
                  <c:v>45611</c:v>
                </c:pt>
                <c:pt idx="151">
                  <c:v>45618</c:v>
                </c:pt>
                <c:pt idx="152">
                  <c:v>45625</c:v>
                </c:pt>
                <c:pt idx="153">
                  <c:v>45632</c:v>
                </c:pt>
                <c:pt idx="154">
                  <c:v>45639</c:v>
                </c:pt>
                <c:pt idx="155">
                  <c:v>45646</c:v>
                </c:pt>
                <c:pt idx="156">
                  <c:v>45653</c:v>
                </c:pt>
                <c:pt idx="157">
                  <c:v>45660</c:v>
                </c:pt>
                <c:pt idx="158">
                  <c:v>45667</c:v>
                </c:pt>
                <c:pt idx="159">
                  <c:v>45674</c:v>
                </c:pt>
                <c:pt idx="160">
                  <c:v>45681</c:v>
                </c:pt>
                <c:pt idx="161">
                  <c:v>45688</c:v>
                </c:pt>
                <c:pt idx="162">
                  <c:v>45695</c:v>
                </c:pt>
                <c:pt idx="163">
                  <c:v>45702</c:v>
                </c:pt>
                <c:pt idx="164">
                  <c:v>45709</c:v>
                </c:pt>
                <c:pt idx="165">
                  <c:v>45716</c:v>
                </c:pt>
                <c:pt idx="166">
                  <c:v>45723</c:v>
                </c:pt>
                <c:pt idx="167">
                  <c:v>45730</c:v>
                </c:pt>
                <c:pt idx="168">
                  <c:v>45737</c:v>
                </c:pt>
                <c:pt idx="169">
                  <c:v>45744</c:v>
                </c:pt>
                <c:pt idx="170">
                  <c:v>45751</c:v>
                </c:pt>
                <c:pt idx="171">
                  <c:v>45758</c:v>
                </c:pt>
                <c:pt idx="172">
                  <c:v>45765</c:v>
                </c:pt>
                <c:pt idx="173">
                  <c:v>45772</c:v>
                </c:pt>
                <c:pt idx="174">
                  <c:v>45779</c:v>
                </c:pt>
                <c:pt idx="175">
                  <c:v>45786</c:v>
                </c:pt>
                <c:pt idx="176">
                  <c:v>45793</c:v>
                </c:pt>
                <c:pt idx="177">
                  <c:v>45800</c:v>
                </c:pt>
                <c:pt idx="178">
                  <c:v>45807</c:v>
                </c:pt>
                <c:pt idx="179">
                  <c:v>45814</c:v>
                </c:pt>
                <c:pt idx="180">
                  <c:v>45821</c:v>
                </c:pt>
                <c:pt idx="181">
                  <c:v>45828</c:v>
                </c:pt>
                <c:pt idx="182">
                  <c:v>45835</c:v>
                </c:pt>
                <c:pt idx="183">
                  <c:v>45842</c:v>
                </c:pt>
                <c:pt idx="184">
                  <c:v>45849</c:v>
                </c:pt>
                <c:pt idx="185">
                  <c:v>45856</c:v>
                </c:pt>
                <c:pt idx="186">
                  <c:v>45863</c:v>
                </c:pt>
                <c:pt idx="187">
                  <c:v>45870</c:v>
                </c:pt>
                <c:pt idx="188">
                  <c:v>45877</c:v>
                </c:pt>
                <c:pt idx="189">
                  <c:v>45884</c:v>
                </c:pt>
                <c:pt idx="190">
                  <c:v>45891</c:v>
                </c:pt>
                <c:pt idx="191">
                  <c:v>45898</c:v>
                </c:pt>
                <c:pt idx="192">
                  <c:v>45905</c:v>
                </c:pt>
                <c:pt idx="193">
                  <c:v>45912</c:v>
                </c:pt>
                <c:pt idx="194">
                  <c:v>45919</c:v>
                </c:pt>
                <c:pt idx="195">
                  <c:v>45926</c:v>
                </c:pt>
                <c:pt idx="196">
                  <c:v>45933</c:v>
                </c:pt>
                <c:pt idx="197">
                  <c:v>45940</c:v>
                </c:pt>
                <c:pt idx="198">
                  <c:v>45947</c:v>
                </c:pt>
                <c:pt idx="199">
                  <c:v>45954</c:v>
                </c:pt>
                <c:pt idx="200">
                  <c:v>45961</c:v>
                </c:pt>
                <c:pt idx="201">
                  <c:v>45968</c:v>
                </c:pt>
                <c:pt idx="202">
                  <c:v>45975</c:v>
                </c:pt>
              </c:numCache>
            </c:numRef>
          </c:cat>
          <c:val>
            <c:numRef>
              <c:f>'指数合成-1.0'!$DD$165:$DD$369</c:f>
              <c:numCache>
                <c:formatCode>0.0</c:formatCode>
                <c:ptCount val="205"/>
                <c:pt idx="0">
                  <c:v>-13.234462437336546</c:v>
                </c:pt>
                <c:pt idx="1">
                  <c:v>-13.646186586749991</c:v>
                </c:pt>
                <c:pt idx="2">
                  <c:v>-13.502560869817444</c:v>
                </c:pt>
                <c:pt idx="3">
                  <c:v>-13.1262619681074</c:v>
                </c:pt>
                <c:pt idx="4">
                  <c:v>-16.921154110467413</c:v>
                </c:pt>
                <c:pt idx="5">
                  <c:v>-28.362215157636314</c:v>
                </c:pt>
                <c:pt idx="6">
                  <c:v>-31.03292438336814</c:v>
                </c:pt>
                <c:pt idx="7">
                  <c:v>-22.398438842334286</c:v>
                </c:pt>
                <c:pt idx="8">
                  <c:v>-21.0967174838473</c:v>
                </c:pt>
                <c:pt idx="9">
                  <c:v>-5.8229970168826526</c:v>
                </c:pt>
                <c:pt idx="10">
                  <c:v>-12.216533934037201</c:v>
                </c:pt>
                <c:pt idx="11">
                  <c:v>-30.425032135351714</c:v>
                </c:pt>
                <c:pt idx="12">
                  <c:v>-35.448924513305002</c:v>
                </c:pt>
                <c:pt idx="13">
                  <c:v>-37.465791349272358</c:v>
                </c:pt>
                <c:pt idx="14">
                  <c:v>-39.29049424602605</c:v>
                </c:pt>
                <c:pt idx="15">
                  <c:v>-39.965277498227671</c:v>
                </c:pt>
                <c:pt idx="16">
                  <c:v>-40.265573821136215</c:v>
                </c:pt>
                <c:pt idx="17">
                  <c:v>-41.155684507779789</c:v>
                </c:pt>
                <c:pt idx="18">
                  <c:v>-40.368814297637748</c:v>
                </c:pt>
                <c:pt idx="19">
                  <c:v>-39.527530867328551</c:v>
                </c:pt>
                <c:pt idx="20">
                  <c:v>-38.544240830726338</c:v>
                </c:pt>
                <c:pt idx="21">
                  <c:v>-35.963687796149017</c:v>
                </c:pt>
                <c:pt idx="22">
                  <c:v>-36.485667261366729</c:v>
                </c:pt>
                <c:pt idx="23">
                  <c:v>-34.073920534178939</c:v>
                </c:pt>
                <c:pt idx="24">
                  <c:v>-22.642313082512487</c:v>
                </c:pt>
                <c:pt idx="25">
                  <c:v>-13.59131762564256</c:v>
                </c:pt>
                <c:pt idx="26">
                  <c:v>-2.5507961203611274</c:v>
                </c:pt>
                <c:pt idx="27">
                  <c:v>-3.6644175183533321</c:v>
                </c:pt>
                <c:pt idx="28">
                  <c:v>-14.6101412804273</c:v>
                </c:pt>
                <c:pt idx="29">
                  <c:v>-20.659773515754992</c:v>
                </c:pt>
                <c:pt idx="30">
                  <c:v>-24.825668646380237</c:v>
                </c:pt>
                <c:pt idx="31">
                  <c:v>-18.996801105542232</c:v>
                </c:pt>
                <c:pt idx="32">
                  <c:v>-16.206381525032995</c:v>
                </c:pt>
                <c:pt idx="33">
                  <c:v>-15.009823872719025</c:v>
                </c:pt>
                <c:pt idx="34">
                  <c:v>-15.633033309512541</c:v>
                </c:pt>
                <c:pt idx="35">
                  <c:v>-15.218619123475136</c:v>
                </c:pt>
                <c:pt idx="36">
                  <c:v>-16.245841396675459</c:v>
                </c:pt>
                <c:pt idx="37">
                  <c:v>-22.216651529914571</c:v>
                </c:pt>
                <c:pt idx="38">
                  <c:v>-15.770616187363316</c:v>
                </c:pt>
                <c:pt idx="39">
                  <c:v>-7.2954933978227956</c:v>
                </c:pt>
                <c:pt idx="40">
                  <c:v>-4.3316225202912619</c:v>
                </c:pt>
                <c:pt idx="41">
                  <c:v>1.5210209350282184</c:v>
                </c:pt>
                <c:pt idx="42">
                  <c:v>-5.7584521974767</c:v>
                </c:pt>
                <c:pt idx="43">
                  <c:v>-13.747797810639582</c:v>
                </c:pt>
                <c:pt idx="44">
                  <c:v>-12.31113086500622</c:v>
                </c:pt>
                <c:pt idx="45">
                  <c:v>-13.801394933561326</c:v>
                </c:pt>
                <c:pt idx="46">
                  <c:v>-17.040740555361936</c:v>
                </c:pt>
                <c:pt idx="47">
                  <c:v>-18.338019622684882</c:v>
                </c:pt>
                <c:pt idx="48">
                  <c:v>-19.539103423581722</c:v>
                </c:pt>
                <c:pt idx="49">
                  <c:v>-15.348027509737321</c:v>
                </c:pt>
                <c:pt idx="50">
                  <c:v>-13.892202647213367</c:v>
                </c:pt>
                <c:pt idx="51">
                  <c:v>-19.156577195140912</c:v>
                </c:pt>
                <c:pt idx="52">
                  <c:v>-17.978980585272936</c:v>
                </c:pt>
                <c:pt idx="53">
                  <c:v>-15.930149269740909</c:v>
                </c:pt>
                <c:pt idx="54">
                  <c:v>-15.424527005212383</c:v>
                </c:pt>
                <c:pt idx="55">
                  <c:v>-13.852814558519782</c:v>
                </c:pt>
                <c:pt idx="56">
                  <c:v>-29.299172992127268</c:v>
                </c:pt>
                <c:pt idx="57">
                  <c:v>-27.268887429060229</c:v>
                </c:pt>
                <c:pt idx="58">
                  <c:v>-20.90732658427541</c:v>
                </c:pt>
                <c:pt idx="59">
                  <c:v>-12.599287153754489</c:v>
                </c:pt>
                <c:pt idx="60">
                  <c:v>15.527750826450585</c:v>
                </c:pt>
                <c:pt idx="61">
                  <c:v>10.638997608833861</c:v>
                </c:pt>
                <c:pt idx="62">
                  <c:v>10.338927162423545</c:v>
                </c:pt>
                <c:pt idx="63">
                  <c:v>19.718553083538112</c:v>
                </c:pt>
                <c:pt idx="64">
                  <c:v>27.043393973327468</c:v>
                </c:pt>
                <c:pt idx="65">
                  <c:v>34.488469544228963</c:v>
                </c:pt>
                <c:pt idx="66">
                  <c:v>35.096042330761179</c:v>
                </c:pt>
                <c:pt idx="67">
                  <c:v>31.763797783130798</c:v>
                </c:pt>
                <c:pt idx="68">
                  <c:v>27.284961181788987</c:v>
                </c:pt>
                <c:pt idx="69">
                  <c:v>21.866181027634028</c:v>
                </c:pt>
                <c:pt idx="70">
                  <c:v>19.32089320539059</c:v>
                </c:pt>
                <c:pt idx="71">
                  <c:v>17.63517273877342</c:v>
                </c:pt>
                <c:pt idx="72">
                  <c:v>17.460062804391114</c:v>
                </c:pt>
                <c:pt idx="73">
                  <c:v>14.074544631560997</c:v>
                </c:pt>
                <c:pt idx="74">
                  <c:v>16.308122551887166</c:v>
                </c:pt>
                <c:pt idx="75">
                  <c:v>8.7029420387723775</c:v>
                </c:pt>
                <c:pt idx="76">
                  <c:v>-4.8860097705061918</c:v>
                </c:pt>
                <c:pt idx="77">
                  <c:v>-20.303744660063771</c:v>
                </c:pt>
                <c:pt idx="78">
                  <c:v>-27.618811656985159</c:v>
                </c:pt>
                <c:pt idx="79">
                  <c:v>-28.835179428166697</c:v>
                </c:pt>
                <c:pt idx="80">
                  <c:v>-27.077676979935632</c:v>
                </c:pt>
                <c:pt idx="81">
                  <c:v>-20.617431851825515</c:v>
                </c:pt>
                <c:pt idx="82">
                  <c:v>-19.857101797144253</c:v>
                </c:pt>
                <c:pt idx="83">
                  <c:v>-19.409269254466054</c:v>
                </c:pt>
                <c:pt idx="84">
                  <c:v>-18.241293227127713</c:v>
                </c:pt>
                <c:pt idx="85">
                  <c:v>-18.019545294284256</c:v>
                </c:pt>
                <c:pt idx="86">
                  <c:v>-16.146774008394189</c:v>
                </c:pt>
                <c:pt idx="87">
                  <c:v>-14.616410844905587</c:v>
                </c:pt>
                <c:pt idx="88">
                  <c:v>-14.00702420005328</c:v>
                </c:pt>
                <c:pt idx="89">
                  <c:v>-9.2771996292035368</c:v>
                </c:pt>
                <c:pt idx="90">
                  <c:v>-10.709968028054448</c:v>
                </c:pt>
                <c:pt idx="91">
                  <c:v>-16.50659124936162</c:v>
                </c:pt>
                <c:pt idx="92">
                  <c:v>-14.573594350963248</c:v>
                </c:pt>
                <c:pt idx="93">
                  <c:v>-16.035537784709135</c:v>
                </c:pt>
                <c:pt idx="94">
                  <c:v>-12.769126665825965</c:v>
                </c:pt>
                <c:pt idx="95">
                  <c:v>-4.2200622226913396</c:v>
                </c:pt>
                <c:pt idx="96">
                  <c:v>-4.3277438882989827</c:v>
                </c:pt>
                <c:pt idx="97">
                  <c:v>-5.602589737937933</c:v>
                </c:pt>
                <c:pt idx="98">
                  <c:v>-7.2792834680830936</c:v>
                </c:pt>
                <c:pt idx="99">
                  <c:v>-9.875654859150913</c:v>
                </c:pt>
                <c:pt idx="100">
                  <c:v>-10.514365887271993</c:v>
                </c:pt>
                <c:pt idx="101">
                  <c:v>-11.308025228625823</c:v>
                </c:pt>
                <c:pt idx="102">
                  <c:v>-10.510918138136773</c:v>
                </c:pt>
                <c:pt idx="103">
                  <c:v>-5.1887175741530029</c:v>
                </c:pt>
                <c:pt idx="104">
                  <c:v>-5.3041598454937855</c:v>
                </c:pt>
                <c:pt idx="105">
                  <c:v>-6.8644644770984087</c:v>
                </c:pt>
                <c:pt idx="106">
                  <c:v>-12.250741953927616</c:v>
                </c:pt>
                <c:pt idx="107">
                  <c:v>-16.665787537880433</c:v>
                </c:pt>
                <c:pt idx="108">
                  <c:v>-7.0942345953953634</c:v>
                </c:pt>
                <c:pt idx="109">
                  <c:v>2.0169377359009957</c:v>
                </c:pt>
                <c:pt idx="110">
                  <c:v>2.4557264339999421</c:v>
                </c:pt>
                <c:pt idx="111">
                  <c:v>-16.498289615827261</c:v>
                </c:pt>
                <c:pt idx="112">
                  <c:v>-40.656884611002475</c:v>
                </c:pt>
                <c:pt idx="113">
                  <c:v>-49.841291832965375</c:v>
                </c:pt>
                <c:pt idx="114">
                  <c:v>-51.627392448406567</c:v>
                </c:pt>
                <c:pt idx="115">
                  <c:v>-45.573800531546816</c:v>
                </c:pt>
                <c:pt idx="116">
                  <c:v>-40.880157614708587</c:v>
                </c:pt>
                <c:pt idx="117">
                  <c:v>-36.971878151589941</c:v>
                </c:pt>
                <c:pt idx="118">
                  <c:v>-32.495746198385959</c:v>
                </c:pt>
                <c:pt idx="119">
                  <c:v>-29.81830709637741</c:v>
                </c:pt>
                <c:pt idx="120">
                  <c:v>-27.867195135768171</c:v>
                </c:pt>
                <c:pt idx="121">
                  <c:v>-29.37033357278186</c:v>
                </c:pt>
                <c:pt idx="122">
                  <c:v>-25.909845198395317</c:v>
                </c:pt>
                <c:pt idx="123">
                  <c:v>-29.151023808819659</c:v>
                </c:pt>
                <c:pt idx="124">
                  <c:v>-27.813901047326652</c:v>
                </c:pt>
                <c:pt idx="125">
                  <c:v>-25.080966073385696</c:v>
                </c:pt>
                <c:pt idx="126">
                  <c:v>-28.24733253163005</c:v>
                </c:pt>
                <c:pt idx="127">
                  <c:v>-22.630623906962569</c:v>
                </c:pt>
                <c:pt idx="128">
                  <c:v>-23.977738921311129</c:v>
                </c:pt>
                <c:pt idx="129">
                  <c:v>-19.750905800846283</c:v>
                </c:pt>
                <c:pt idx="130">
                  <c:v>-18.348860665697302</c:v>
                </c:pt>
                <c:pt idx="131">
                  <c:v>-10.04019231651138</c:v>
                </c:pt>
                <c:pt idx="132">
                  <c:v>-4.6827129451577605</c:v>
                </c:pt>
                <c:pt idx="133">
                  <c:v>-6.42748321941923</c:v>
                </c:pt>
                <c:pt idx="134">
                  <c:v>-5.1044012379176706</c:v>
                </c:pt>
                <c:pt idx="135">
                  <c:v>-12.301618769794146</c:v>
                </c:pt>
                <c:pt idx="136">
                  <c:v>-13.036912582800326</c:v>
                </c:pt>
                <c:pt idx="137">
                  <c:v>-12.750093350040387</c:v>
                </c:pt>
                <c:pt idx="138">
                  <c:v>-11.306875231698911</c:v>
                </c:pt>
                <c:pt idx="139">
                  <c:v>-17.059572675351006</c:v>
                </c:pt>
                <c:pt idx="140">
                  <c:v>-16.864513571580758</c:v>
                </c:pt>
                <c:pt idx="141">
                  <c:v>-18.730468928078537</c:v>
                </c:pt>
                <c:pt idx="142">
                  <c:v>-25.467571321884662</c:v>
                </c:pt>
                <c:pt idx="143">
                  <c:v>-26.359297649367619</c:v>
                </c:pt>
                <c:pt idx="144">
                  <c:v>-19.597822022167819</c:v>
                </c:pt>
                <c:pt idx="145">
                  <c:v>-21.138757173484223</c:v>
                </c:pt>
                <c:pt idx="146">
                  <c:v>-10.090673216243815</c:v>
                </c:pt>
                <c:pt idx="147">
                  <c:v>-3.9577891309168933</c:v>
                </c:pt>
                <c:pt idx="148">
                  <c:v>-5.8371495000137088</c:v>
                </c:pt>
                <c:pt idx="149">
                  <c:v>4.2635523816368277</c:v>
                </c:pt>
                <c:pt idx="150">
                  <c:v>4.8778542824662168</c:v>
                </c:pt>
                <c:pt idx="151">
                  <c:v>10.679779147168972</c:v>
                </c:pt>
                <c:pt idx="152">
                  <c:v>10.717917766567609</c:v>
                </c:pt>
                <c:pt idx="153">
                  <c:v>13.279361468755368</c:v>
                </c:pt>
                <c:pt idx="154">
                  <c:v>14.835444254427927</c:v>
                </c:pt>
                <c:pt idx="155">
                  <c:v>13.871056604696449</c:v>
                </c:pt>
                <c:pt idx="156">
                  <c:v>10.770439155784899</c:v>
                </c:pt>
                <c:pt idx="157">
                  <c:v>13.559089631832407</c:v>
                </c:pt>
                <c:pt idx="158">
                  <c:v>12.407419034040942</c:v>
                </c:pt>
                <c:pt idx="159">
                  <c:v>11.842118228522992</c:v>
                </c:pt>
                <c:pt idx="160">
                  <c:v>13.027162347670668</c:v>
                </c:pt>
                <c:pt idx="161">
                  <c:v>-11.30119672381808</c:v>
                </c:pt>
                <c:pt idx="162">
                  <c:v>-18.640164522876972</c:v>
                </c:pt>
                <c:pt idx="163">
                  <c:v>-10.79109097897441</c:v>
                </c:pt>
                <c:pt idx="164">
                  <c:v>-4.7803776150104227</c:v>
                </c:pt>
                <c:pt idx="165">
                  <c:v>21.229264054488326</c:v>
                </c:pt>
                <c:pt idx="166">
                  <c:v>31.54551402660158</c:v>
                </c:pt>
                <c:pt idx="167">
                  <c:v>16.408647128229987</c:v>
                </c:pt>
                <c:pt idx="168">
                  <c:v>8.1872330964233129</c:v>
                </c:pt>
                <c:pt idx="169">
                  <c:v>-0.8549144337852681</c:v>
                </c:pt>
                <c:pt idx="170">
                  <c:v>0.7116566194514462</c:v>
                </c:pt>
                <c:pt idx="171">
                  <c:v>-3.5988670640241907</c:v>
                </c:pt>
                <c:pt idx="172">
                  <c:v>-5.7420937319181462</c:v>
                </c:pt>
                <c:pt idx="173">
                  <c:v>-6.3182744995220332</c:v>
                </c:pt>
                <c:pt idx="174">
                  <c:v>-7.4330287475403765</c:v>
                </c:pt>
                <c:pt idx="175">
                  <c:v>-4.7905848225898779</c:v>
                </c:pt>
                <c:pt idx="176">
                  <c:v>-3.5487042490842811</c:v>
                </c:pt>
                <c:pt idx="177">
                  <c:v>-0.46668435240096073</c:v>
                </c:pt>
                <c:pt idx="178">
                  <c:v>-4.0218293655301665</c:v>
                </c:pt>
                <c:pt idx="179">
                  <c:v>-5.0429242999233139</c:v>
                </c:pt>
                <c:pt idx="180">
                  <c:v>-2.9173264550207421</c:v>
                </c:pt>
                <c:pt idx="181">
                  <c:v>-4.3310297274791481</c:v>
                </c:pt>
                <c:pt idx="182">
                  <c:v>-6.8427431147727589</c:v>
                </c:pt>
                <c:pt idx="183">
                  <c:v>-6.1628923751742377</c:v>
                </c:pt>
                <c:pt idx="184">
                  <c:v>-9.0454784543353384</c:v>
                </c:pt>
                <c:pt idx="185">
                  <c:v>-10.633530437883294</c:v>
                </c:pt>
                <c:pt idx="186">
                  <c:v>-8.9612507619846014</c:v>
                </c:pt>
                <c:pt idx="187">
                  <c:v>-10.512776334802695</c:v>
                </c:pt>
                <c:pt idx="188">
                  <c:v>-9.5393920015760187</c:v>
                </c:pt>
                <c:pt idx="189">
                  <c:v>-7.1956464410901759</c:v>
                </c:pt>
                <c:pt idx="190">
                  <c:v>-8.3284067517728602</c:v>
                </c:pt>
                <c:pt idx="191">
                  <c:v>-5.0513367195836167</c:v>
                </c:pt>
                <c:pt idx="192">
                  <c:v>-2.33251868132092</c:v>
                </c:pt>
                <c:pt idx="193">
                  <c:v>-0.15094779056343555</c:v>
                </c:pt>
                <c:pt idx="194">
                  <c:v>5.6412843335045295</c:v>
                </c:pt>
                <c:pt idx="195">
                  <c:v>4.1985672559360125</c:v>
                </c:pt>
                <c:pt idx="196">
                  <c:v>4.3865349409654755</c:v>
                </c:pt>
                <c:pt idx="197">
                  <c:v>-3.1635470941515393</c:v>
                </c:pt>
                <c:pt idx="198">
                  <c:v>-9.8131150685230182</c:v>
                </c:pt>
                <c:pt idx="199">
                  <c:v>-12.65963090942698</c:v>
                </c:pt>
                <c:pt idx="200">
                  <c:v>-20.148353452548378</c:v>
                </c:pt>
                <c:pt idx="201">
                  <c:v>-21.012109474966294</c:v>
                </c:pt>
                <c:pt idx="202">
                  <c:v>-21.97979777089106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B431-4766-AB30-7EB3CB2E8345}"/>
            </c:ext>
          </c:extLst>
        </c:ser>
        <c:ser>
          <c:idx val="4"/>
          <c:order val="3"/>
          <c:tx>
            <c:strRef>
              <c:f>'指数合成-1.0'!$DH$8</c:f>
              <c:strCache>
                <c:ptCount val="1"/>
                <c:pt idx="0">
                  <c:v>消费</c:v>
                </c:pt>
              </c:strCache>
            </c:strRef>
          </c:tx>
          <c:spPr>
            <a:ln w="28575" cap="rnd">
              <a:solidFill>
                <a:srgbClr val="DCB464"/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165:$DC$369</c:f>
              <c:numCache>
                <c:formatCode>yyyy\-mm\-dd</c:formatCode>
                <c:ptCount val="205"/>
                <c:pt idx="0">
                  <c:v>44561</c:v>
                </c:pt>
                <c:pt idx="1">
                  <c:v>44568</c:v>
                </c:pt>
                <c:pt idx="2">
                  <c:v>44575</c:v>
                </c:pt>
                <c:pt idx="3">
                  <c:v>44582</c:v>
                </c:pt>
                <c:pt idx="4">
                  <c:v>44589</c:v>
                </c:pt>
                <c:pt idx="5">
                  <c:v>44596</c:v>
                </c:pt>
                <c:pt idx="6">
                  <c:v>44603</c:v>
                </c:pt>
                <c:pt idx="7">
                  <c:v>44610</c:v>
                </c:pt>
                <c:pt idx="8">
                  <c:v>44617</c:v>
                </c:pt>
                <c:pt idx="9">
                  <c:v>44624</c:v>
                </c:pt>
                <c:pt idx="10">
                  <c:v>44631</c:v>
                </c:pt>
                <c:pt idx="11">
                  <c:v>44638</c:v>
                </c:pt>
                <c:pt idx="12">
                  <c:v>44645</c:v>
                </c:pt>
                <c:pt idx="13">
                  <c:v>44652</c:v>
                </c:pt>
                <c:pt idx="14">
                  <c:v>44659</c:v>
                </c:pt>
                <c:pt idx="15">
                  <c:v>44666</c:v>
                </c:pt>
                <c:pt idx="16">
                  <c:v>44673</c:v>
                </c:pt>
                <c:pt idx="17">
                  <c:v>44680</c:v>
                </c:pt>
                <c:pt idx="18">
                  <c:v>44687</c:v>
                </c:pt>
                <c:pt idx="19">
                  <c:v>44694</c:v>
                </c:pt>
                <c:pt idx="20">
                  <c:v>44701</c:v>
                </c:pt>
                <c:pt idx="21">
                  <c:v>44708</c:v>
                </c:pt>
                <c:pt idx="22">
                  <c:v>44715</c:v>
                </c:pt>
                <c:pt idx="23">
                  <c:v>44722</c:v>
                </c:pt>
                <c:pt idx="24">
                  <c:v>44729</c:v>
                </c:pt>
                <c:pt idx="25">
                  <c:v>44736</c:v>
                </c:pt>
                <c:pt idx="26">
                  <c:v>44743</c:v>
                </c:pt>
                <c:pt idx="27">
                  <c:v>44750</c:v>
                </c:pt>
                <c:pt idx="28">
                  <c:v>44757</c:v>
                </c:pt>
                <c:pt idx="29">
                  <c:v>44764</c:v>
                </c:pt>
                <c:pt idx="30">
                  <c:v>44771</c:v>
                </c:pt>
                <c:pt idx="31">
                  <c:v>44778</c:v>
                </c:pt>
                <c:pt idx="32">
                  <c:v>44785</c:v>
                </c:pt>
                <c:pt idx="33">
                  <c:v>44792</c:v>
                </c:pt>
                <c:pt idx="34">
                  <c:v>44799</c:v>
                </c:pt>
                <c:pt idx="35">
                  <c:v>44806</c:v>
                </c:pt>
                <c:pt idx="36">
                  <c:v>44813</c:v>
                </c:pt>
                <c:pt idx="37">
                  <c:v>44820</c:v>
                </c:pt>
                <c:pt idx="38">
                  <c:v>44827</c:v>
                </c:pt>
                <c:pt idx="39">
                  <c:v>44834</c:v>
                </c:pt>
                <c:pt idx="40">
                  <c:v>44841</c:v>
                </c:pt>
                <c:pt idx="41">
                  <c:v>44848</c:v>
                </c:pt>
                <c:pt idx="42">
                  <c:v>44855</c:v>
                </c:pt>
                <c:pt idx="43">
                  <c:v>44862</c:v>
                </c:pt>
                <c:pt idx="44">
                  <c:v>44869</c:v>
                </c:pt>
                <c:pt idx="45">
                  <c:v>44876</c:v>
                </c:pt>
                <c:pt idx="46">
                  <c:v>44883</c:v>
                </c:pt>
                <c:pt idx="47">
                  <c:v>44890</c:v>
                </c:pt>
                <c:pt idx="48">
                  <c:v>44897</c:v>
                </c:pt>
                <c:pt idx="49">
                  <c:v>44904</c:v>
                </c:pt>
                <c:pt idx="50">
                  <c:v>44911</c:v>
                </c:pt>
                <c:pt idx="51">
                  <c:v>44918</c:v>
                </c:pt>
                <c:pt idx="52">
                  <c:v>44925</c:v>
                </c:pt>
                <c:pt idx="53">
                  <c:v>44932</c:v>
                </c:pt>
                <c:pt idx="54">
                  <c:v>44939</c:v>
                </c:pt>
                <c:pt idx="55">
                  <c:v>44946</c:v>
                </c:pt>
                <c:pt idx="56">
                  <c:v>44953</c:v>
                </c:pt>
                <c:pt idx="57">
                  <c:v>44960</c:v>
                </c:pt>
                <c:pt idx="58">
                  <c:v>44967</c:v>
                </c:pt>
                <c:pt idx="59">
                  <c:v>44974</c:v>
                </c:pt>
                <c:pt idx="60">
                  <c:v>44981</c:v>
                </c:pt>
                <c:pt idx="61">
                  <c:v>44988</c:v>
                </c:pt>
                <c:pt idx="62">
                  <c:v>44995</c:v>
                </c:pt>
                <c:pt idx="63">
                  <c:v>45002</c:v>
                </c:pt>
                <c:pt idx="64">
                  <c:v>45009</c:v>
                </c:pt>
                <c:pt idx="65">
                  <c:v>45016</c:v>
                </c:pt>
                <c:pt idx="66">
                  <c:v>45023</c:v>
                </c:pt>
                <c:pt idx="67">
                  <c:v>45030</c:v>
                </c:pt>
                <c:pt idx="68">
                  <c:v>45037</c:v>
                </c:pt>
                <c:pt idx="69">
                  <c:v>45044</c:v>
                </c:pt>
                <c:pt idx="70">
                  <c:v>45051</c:v>
                </c:pt>
                <c:pt idx="71">
                  <c:v>45058</c:v>
                </c:pt>
                <c:pt idx="72">
                  <c:v>45065</c:v>
                </c:pt>
                <c:pt idx="73">
                  <c:v>45072</c:v>
                </c:pt>
                <c:pt idx="74">
                  <c:v>45079</c:v>
                </c:pt>
                <c:pt idx="75">
                  <c:v>45086</c:v>
                </c:pt>
                <c:pt idx="76">
                  <c:v>45093</c:v>
                </c:pt>
                <c:pt idx="77">
                  <c:v>45100</c:v>
                </c:pt>
                <c:pt idx="78">
                  <c:v>45107</c:v>
                </c:pt>
                <c:pt idx="79">
                  <c:v>45114</c:v>
                </c:pt>
                <c:pt idx="80">
                  <c:v>45121</c:v>
                </c:pt>
                <c:pt idx="81">
                  <c:v>45128</c:v>
                </c:pt>
                <c:pt idx="82">
                  <c:v>45135</c:v>
                </c:pt>
                <c:pt idx="83">
                  <c:v>45142</c:v>
                </c:pt>
                <c:pt idx="84">
                  <c:v>45149</c:v>
                </c:pt>
                <c:pt idx="85">
                  <c:v>45156</c:v>
                </c:pt>
                <c:pt idx="86">
                  <c:v>45163</c:v>
                </c:pt>
                <c:pt idx="87">
                  <c:v>45170</c:v>
                </c:pt>
                <c:pt idx="88">
                  <c:v>45177</c:v>
                </c:pt>
                <c:pt idx="89">
                  <c:v>45184</c:v>
                </c:pt>
                <c:pt idx="90">
                  <c:v>45191</c:v>
                </c:pt>
                <c:pt idx="91">
                  <c:v>45198</c:v>
                </c:pt>
                <c:pt idx="92">
                  <c:v>45205</c:v>
                </c:pt>
                <c:pt idx="93">
                  <c:v>45212</c:v>
                </c:pt>
                <c:pt idx="94">
                  <c:v>45219</c:v>
                </c:pt>
                <c:pt idx="95">
                  <c:v>45226</c:v>
                </c:pt>
                <c:pt idx="96">
                  <c:v>45233</c:v>
                </c:pt>
                <c:pt idx="97">
                  <c:v>45240</c:v>
                </c:pt>
                <c:pt idx="98">
                  <c:v>45247</c:v>
                </c:pt>
                <c:pt idx="99">
                  <c:v>45254</c:v>
                </c:pt>
                <c:pt idx="100">
                  <c:v>45261</c:v>
                </c:pt>
                <c:pt idx="101">
                  <c:v>45268</c:v>
                </c:pt>
                <c:pt idx="102">
                  <c:v>45275</c:v>
                </c:pt>
                <c:pt idx="103">
                  <c:v>45282</c:v>
                </c:pt>
                <c:pt idx="104">
                  <c:v>45289</c:v>
                </c:pt>
                <c:pt idx="105">
                  <c:v>45296</c:v>
                </c:pt>
                <c:pt idx="106">
                  <c:v>45303</c:v>
                </c:pt>
                <c:pt idx="107">
                  <c:v>45310</c:v>
                </c:pt>
                <c:pt idx="108">
                  <c:v>45317</c:v>
                </c:pt>
                <c:pt idx="109">
                  <c:v>45324</c:v>
                </c:pt>
                <c:pt idx="110">
                  <c:v>45331</c:v>
                </c:pt>
                <c:pt idx="111">
                  <c:v>45338</c:v>
                </c:pt>
                <c:pt idx="112">
                  <c:v>45345</c:v>
                </c:pt>
                <c:pt idx="113">
                  <c:v>45352</c:v>
                </c:pt>
                <c:pt idx="114">
                  <c:v>45359</c:v>
                </c:pt>
                <c:pt idx="115">
                  <c:v>45366</c:v>
                </c:pt>
                <c:pt idx="116">
                  <c:v>45373</c:v>
                </c:pt>
                <c:pt idx="117">
                  <c:v>45380</c:v>
                </c:pt>
                <c:pt idx="118">
                  <c:v>45387</c:v>
                </c:pt>
                <c:pt idx="119">
                  <c:v>45394</c:v>
                </c:pt>
                <c:pt idx="120">
                  <c:v>45401</c:v>
                </c:pt>
                <c:pt idx="121">
                  <c:v>45408</c:v>
                </c:pt>
                <c:pt idx="122">
                  <c:v>45415</c:v>
                </c:pt>
                <c:pt idx="123">
                  <c:v>45422</c:v>
                </c:pt>
                <c:pt idx="124">
                  <c:v>45429</c:v>
                </c:pt>
                <c:pt idx="125">
                  <c:v>45436</c:v>
                </c:pt>
                <c:pt idx="126">
                  <c:v>45443</c:v>
                </c:pt>
                <c:pt idx="127">
                  <c:v>45450</c:v>
                </c:pt>
                <c:pt idx="128">
                  <c:v>45457</c:v>
                </c:pt>
                <c:pt idx="129">
                  <c:v>45464</c:v>
                </c:pt>
                <c:pt idx="130">
                  <c:v>45471</c:v>
                </c:pt>
                <c:pt idx="131">
                  <c:v>45478</c:v>
                </c:pt>
                <c:pt idx="132">
                  <c:v>45485</c:v>
                </c:pt>
                <c:pt idx="133">
                  <c:v>45492</c:v>
                </c:pt>
                <c:pt idx="134">
                  <c:v>45499</c:v>
                </c:pt>
                <c:pt idx="135">
                  <c:v>45506</c:v>
                </c:pt>
                <c:pt idx="136">
                  <c:v>45513</c:v>
                </c:pt>
                <c:pt idx="137">
                  <c:v>45520</c:v>
                </c:pt>
                <c:pt idx="138">
                  <c:v>45527</c:v>
                </c:pt>
                <c:pt idx="139">
                  <c:v>45534</c:v>
                </c:pt>
                <c:pt idx="140">
                  <c:v>45541</c:v>
                </c:pt>
                <c:pt idx="141">
                  <c:v>45548</c:v>
                </c:pt>
                <c:pt idx="142">
                  <c:v>45555</c:v>
                </c:pt>
                <c:pt idx="143">
                  <c:v>45562</c:v>
                </c:pt>
                <c:pt idx="144">
                  <c:v>45569</c:v>
                </c:pt>
                <c:pt idx="145">
                  <c:v>45576</c:v>
                </c:pt>
                <c:pt idx="146">
                  <c:v>45583</c:v>
                </c:pt>
                <c:pt idx="147">
                  <c:v>45590</c:v>
                </c:pt>
                <c:pt idx="148">
                  <c:v>45597</c:v>
                </c:pt>
                <c:pt idx="149">
                  <c:v>45604</c:v>
                </c:pt>
                <c:pt idx="150">
                  <c:v>45611</c:v>
                </c:pt>
                <c:pt idx="151">
                  <c:v>45618</c:v>
                </c:pt>
                <c:pt idx="152">
                  <c:v>45625</c:v>
                </c:pt>
                <c:pt idx="153">
                  <c:v>45632</c:v>
                </c:pt>
                <c:pt idx="154">
                  <c:v>45639</c:v>
                </c:pt>
                <c:pt idx="155">
                  <c:v>45646</c:v>
                </c:pt>
                <c:pt idx="156">
                  <c:v>45653</c:v>
                </c:pt>
                <c:pt idx="157">
                  <c:v>45660</c:v>
                </c:pt>
                <c:pt idx="158">
                  <c:v>45667</c:v>
                </c:pt>
                <c:pt idx="159">
                  <c:v>45674</c:v>
                </c:pt>
                <c:pt idx="160">
                  <c:v>45681</c:v>
                </c:pt>
                <c:pt idx="161">
                  <c:v>45688</c:v>
                </c:pt>
                <c:pt idx="162">
                  <c:v>45695</c:v>
                </c:pt>
                <c:pt idx="163">
                  <c:v>45702</c:v>
                </c:pt>
                <c:pt idx="164">
                  <c:v>45709</c:v>
                </c:pt>
                <c:pt idx="165">
                  <c:v>45716</c:v>
                </c:pt>
                <c:pt idx="166">
                  <c:v>45723</c:v>
                </c:pt>
                <c:pt idx="167">
                  <c:v>45730</c:v>
                </c:pt>
                <c:pt idx="168">
                  <c:v>45737</c:v>
                </c:pt>
                <c:pt idx="169">
                  <c:v>45744</c:v>
                </c:pt>
                <c:pt idx="170">
                  <c:v>45751</c:v>
                </c:pt>
                <c:pt idx="171">
                  <c:v>45758</c:v>
                </c:pt>
                <c:pt idx="172">
                  <c:v>45765</c:v>
                </c:pt>
                <c:pt idx="173">
                  <c:v>45772</c:v>
                </c:pt>
                <c:pt idx="174">
                  <c:v>45779</c:v>
                </c:pt>
                <c:pt idx="175">
                  <c:v>45786</c:v>
                </c:pt>
                <c:pt idx="176">
                  <c:v>45793</c:v>
                </c:pt>
                <c:pt idx="177">
                  <c:v>45800</c:v>
                </c:pt>
                <c:pt idx="178">
                  <c:v>45807</c:v>
                </c:pt>
                <c:pt idx="179">
                  <c:v>45814</c:v>
                </c:pt>
                <c:pt idx="180">
                  <c:v>45821</c:v>
                </c:pt>
                <c:pt idx="181">
                  <c:v>45828</c:v>
                </c:pt>
                <c:pt idx="182">
                  <c:v>45835</c:v>
                </c:pt>
                <c:pt idx="183">
                  <c:v>45842</c:v>
                </c:pt>
                <c:pt idx="184">
                  <c:v>45849</c:v>
                </c:pt>
                <c:pt idx="185">
                  <c:v>45856</c:v>
                </c:pt>
                <c:pt idx="186">
                  <c:v>45863</c:v>
                </c:pt>
                <c:pt idx="187">
                  <c:v>45870</c:v>
                </c:pt>
                <c:pt idx="188">
                  <c:v>45877</c:v>
                </c:pt>
                <c:pt idx="189">
                  <c:v>45884</c:v>
                </c:pt>
                <c:pt idx="190">
                  <c:v>45891</c:v>
                </c:pt>
                <c:pt idx="191">
                  <c:v>45898</c:v>
                </c:pt>
                <c:pt idx="192">
                  <c:v>45905</c:v>
                </c:pt>
                <c:pt idx="193">
                  <c:v>45912</c:v>
                </c:pt>
                <c:pt idx="194">
                  <c:v>45919</c:v>
                </c:pt>
                <c:pt idx="195">
                  <c:v>45926</c:v>
                </c:pt>
                <c:pt idx="196">
                  <c:v>45933</c:v>
                </c:pt>
                <c:pt idx="197">
                  <c:v>45940</c:v>
                </c:pt>
                <c:pt idx="198">
                  <c:v>45947</c:v>
                </c:pt>
                <c:pt idx="199">
                  <c:v>45954</c:v>
                </c:pt>
                <c:pt idx="200">
                  <c:v>45961</c:v>
                </c:pt>
                <c:pt idx="201">
                  <c:v>45968</c:v>
                </c:pt>
                <c:pt idx="202">
                  <c:v>45975</c:v>
                </c:pt>
              </c:numCache>
            </c:numRef>
          </c:cat>
          <c:val>
            <c:numRef>
              <c:f>'指数合成-1.0'!$DH$165:$DH$369</c:f>
              <c:numCache>
                <c:formatCode>0.0</c:formatCode>
                <c:ptCount val="205"/>
                <c:pt idx="0">
                  <c:v>-10.492740562405046</c:v>
                </c:pt>
                <c:pt idx="1">
                  <c:v>-10.036595893934049</c:v>
                </c:pt>
                <c:pt idx="2">
                  <c:v>-9.1135363461174279</c:v>
                </c:pt>
                <c:pt idx="3">
                  <c:v>-8.1928176261861836</c:v>
                </c:pt>
                <c:pt idx="4">
                  <c:v>-11.960938423051445</c:v>
                </c:pt>
                <c:pt idx="5">
                  <c:v>-9.8014795754878605</c:v>
                </c:pt>
                <c:pt idx="6">
                  <c:v>1.9334609453544971</c:v>
                </c:pt>
                <c:pt idx="7">
                  <c:v>4.1264499951522566</c:v>
                </c:pt>
                <c:pt idx="8">
                  <c:v>9.650621612278016</c:v>
                </c:pt>
                <c:pt idx="9">
                  <c:v>2.8384015134446514</c:v>
                </c:pt>
                <c:pt idx="10">
                  <c:v>-11.744352999707132</c:v>
                </c:pt>
                <c:pt idx="11">
                  <c:v>-21.921511195267414</c:v>
                </c:pt>
                <c:pt idx="12">
                  <c:v>-33.441966326480127</c:v>
                </c:pt>
                <c:pt idx="13">
                  <c:v>-40.046121139649507</c:v>
                </c:pt>
                <c:pt idx="14">
                  <c:v>-48.60121211423175</c:v>
                </c:pt>
                <c:pt idx="15">
                  <c:v>-54.678653037960082</c:v>
                </c:pt>
                <c:pt idx="16">
                  <c:v>-58.694289339778791</c:v>
                </c:pt>
                <c:pt idx="17">
                  <c:v>-60.789924590703706</c:v>
                </c:pt>
                <c:pt idx="18">
                  <c:v>-58.680642565452715</c:v>
                </c:pt>
                <c:pt idx="19">
                  <c:v>-54.677948039503597</c:v>
                </c:pt>
                <c:pt idx="20">
                  <c:v>-47.401944073420985</c:v>
                </c:pt>
                <c:pt idx="21">
                  <c:v>-45.326016370891189</c:v>
                </c:pt>
                <c:pt idx="22">
                  <c:v>-41.874803901024848</c:v>
                </c:pt>
                <c:pt idx="23">
                  <c:v>-37.938453969393692</c:v>
                </c:pt>
                <c:pt idx="24">
                  <c:v>-35.829847830644312</c:v>
                </c:pt>
                <c:pt idx="25">
                  <c:v>-32.595072128111525</c:v>
                </c:pt>
                <c:pt idx="26">
                  <c:v>-27.312889199529778</c:v>
                </c:pt>
                <c:pt idx="27">
                  <c:v>-27.436634488116056</c:v>
                </c:pt>
                <c:pt idx="28">
                  <c:v>-29.295835078000209</c:v>
                </c:pt>
                <c:pt idx="29">
                  <c:v>-30.902722781913255</c:v>
                </c:pt>
                <c:pt idx="30">
                  <c:v>-33.617086284269789</c:v>
                </c:pt>
                <c:pt idx="31">
                  <c:v>-29.490744646752091</c:v>
                </c:pt>
                <c:pt idx="32">
                  <c:v>-25.151803004860838</c:v>
                </c:pt>
                <c:pt idx="33">
                  <c:v>-18.309977362819765</c:v>
                </c:pt>
                <c:pt idx="34">
                  <c:v>-16.030399474646899</c:v>
                </c:pt>
                <c:pt idx="35">
                  <c:v>-19.253601528536208</c:v>
                </c:pt>
                <c:pt idx="36">
                  <c:v>-22.704516170070889</c:v>
                </c:pt>
                <c:pt idx="37">
                  <c:v>-27.944602445764943</c:v>
                </c:pt>
                <c:pt idx="38">
                  <c:v>-26.274150681167029</c:v>
                </c:pt>
                <c:pt idx="39">
                  <c:v>-20.997820816464241</c:v>
                </c:pt>
                <c:pt idx="40">
                  <c:v>-20.561642890688276</c:v>
                </c:pt>
                <c:pt idx="41">
                  <c:v>-18.398219380188891</c:v>
                </c:pt>
                <c:pt idx="42">
                  <c:v>-19.621900444863613</c:v>
                </c:pt>
                <c:pt idx="43">
                  <c:v>-21.931368009819991</c:v>
                </c:pt>
                <c:pt idx="44">
                  <c:v>-19.813021067128844</c:v>
                </c:pt>
                <c:pt idx="45">
                  <c:v>-21.692133973848101</c:v>
                </c:pt>
                <c:pt idx="46">
                  <c:v>-22.728659964380668</c:v>
                </c:pt>
                <c:pt idx="47">
                  <c:v>-27.783287200842693</c:v>
                </c:pt>
                <c:pt idx="48">
                  <c:v>-29.892299182934607</c:v>
                </c:pt>
                <c:pt idx="49">
                  <c:v>-32.042914955170346</c:v>
                </c:pt>
                <c:pt idx="50">
                  <c:v>-31.091081835033179</c:v>
                </c:pt>
                <c:pt idx="51">
                  <c:v>-28.388740714216951</c:v>
                </c:pt>
                <c:pt idx="52">
                  <c:v>-25.925893325088538</c:v>
                </c:pt>
                <c:pt idx="53">
                  <c:v>-24.602141176252417</c:v>
                </c:pt>
                <c:pt idx="54">
                  <c:v>-27.658981948522666</c:v>
                </c:pt>
                <c:pt idx="55">
                  <c:v>-31.408581641101421</c:v>
                </c:pt>
                <c:pt idx="56">
                  <c:v>-22.357257340377643</c:v>
                </c:pt>
                <c:pt idx="57">
                  <c:v>-8.5261891253803554</c:v>
                </c:pt>
                <c:pt idx="58">
                  <c:v>-0.94646027703922186</c:v>
                </c:pt>
                <c:pt idx="59">
                  <c:v>2.7272090777122457</c:v>
                </c:pt>
                <c:pt idx="60">
                  <c:v>-9.1357620872810088</c:v>
                </c:pt>
                <c:pt idx="61">
                  <c:v>-16.160092138988603</c:v>
                </c:pt>
                <c:pt idx="62">
                  <c:v>-15.40530015694786</c:v>
                </c:pt>
                <c:pt idx="63">
                  <c:v>-5.3400829687409157</c:v>
                </c:pt>
                <c:pt idx="64">
                  <c:v>13.814872480991298</c:v>
                </c:pt>
                <c:pt idx="65">
                  <c:v>36.8909444041673</c:v>
                </c:pt>
                <c:pt idx="66">
                  <c:v>64.318877303048765</c:v>
                </c:pt>
                <c:pt idx="67">
                  <c:v>86.111722009887416</c:v>
                </c:pt>
                <c:pt idx="68">
                  <c:v>98.682569460177604</c:v>
                </c:pt>
                <c:pt idx="69">
                  <c:v>98.902063108681119</c:v>
                </c:pt>
                <c:pt idx="70">
                  <c:v>89.862075259900877</c:v>
                </c:pt>
                <c:pt idx="71">
                  <c:v>73.118799362031211</c:v>
                </c:pt>
                <c:pt idx="72">
                  <c:v>50.814413205034782</c:v>
                </c:pt>
                <c:pt idx="73">
                  <c:v>41.340909164257369</c:v>
                </c:pt>
                <c:pt idx="74">
                  <c:v>34.238958592245069</c:v>
                </c:pt>
                <c:pt idx="75">
                  <c:v>27.860220119468295</c:v>
                </c:pt>
                <c:pt idx="76">
                  <c:v>25.821369606459243</c:v>
                </c:pt>
                <c:pt idx="77">
                  <c:v>26.103162099749539</c:v>
                </c:pt>
                <c:pt idx="78">
                  <c:v>24.407420022795861</c:v>
                </c:pt>
                <c:pt idx="79">
                  <c:v>26.258957685588683</c:v>
                </c:pt>
                <c:pt idx="80">
                  <c:v>30.864524328639476</c:v>
                </c:pt>
                <c:pt idx="81">
                  <c:v>32.520684596561466</c:v>
                </c:pt>
                <c:pt idx="82">
                  <c:v>30.971936200644876</c:v>
                </c:pt>
                <c:pt idx="83">
                  <c:v>26.03304235359056</c:v>
                </c:pt>
                <c:pt idx="84">
                  <c:v>28.703775493488564</c:v>
                </c:pt>
                <c:pt idx="85">
                  <c:v>26.534901177139176</c:v>
                </c:pt>
                <c:pt idx="86">
                  <c:v>30.943064191272697</c:v>
                </c:pt>
                <c:pt idx="87">
                  <c:v>40.657542014539473</c:v>
                </c:pt>
                <c:pt idx="88">
                  <c:v>38.456274316605743</c:v>
                </c:pt>
                <c:pt idx="89">
                  <c:v>40.221538483787185</c:v>
                </c:pt>
                <c:pt idx="90">
                  <c:v>35.397195961811803</c:v>
                </c:pt>
                <c:pt idx="91">
                  <c:v>26.542468150174798</c:v>
                </c:pt>
                <c:pt idx="92">
                  <c:v>30.240539257259371</c:v>
                </c:pt>
                <c:pt idx="93">
                  <c:v>28.962281631468358</c:v>
                </c:pt>
                <c:pt idx="94">
                  <c:v>30.783680142594278</c:v>
                </c:pt>
                <c:pt idx="95">
                  <c:v>30.909900317896984</c:v>
                </c:pt>
                <c:pt idx="96">
                  <c:v>25.343205499513815</c:v>
                </c:pt>
                <c:pt idx="97">
                  <c:v>29.279979174528506</c:v>
                </c:pt>
                <c:pt idx="98">
                  <c:v>29.690941527972797</c:v>
                </c:pt>
                <c:pt idx="99">
                  <c:v>35.305895186310295</c:v>
                </c:pt>
                <c:pt idx="100">
                  <c:v>43.897686512578701</c:v>
                </c:pt>
                <c:pt idx="101">
                  <c:v>50.062153198971373</c:v>
                </c:pt>
                <c:pt idx="102">
                  <c:v>49.049399138408916</c:v>
                </c:pt>
                <c:pt idx="103">
                  <c:v>48.547908981178011</c:v>
                </c:pt>
                <c:pt idx="104">
                  <c:v>40.360303356846146</c:v>
                </c:pt>
                <c:pt idx="105">
                  <c:v>40.7514194799015</c:v>
                </c:pt>
                <c:pt idx="106">
                  <c:v>46.923167443768421</c:v>
                </c:pt>
                <c:pt idx="107">
                  <c:v>58.517155857063813</c:v>
                </c:pt>
                <c:pt idx="108">
                  <c:v>49.977828267091922</c:v>
                </c:pt>
                <c:pt idx="109">
                  <c:v>28.381215354426786</c:v>
                </c:pt>
                <c:pt idx="110">
                  <c:v>6.6123012126162024</c:v>
                </c:pt>
                <c:pt idx="111">
                  <c:v>-1.1217387203478211</c:v>
                </c:pt>
                <c:pt idx="112">
                  <c:v>-1.7290255781127257</c:v>
                </c:pt>
                <c:pt idx="113">
                  <c:v>4.1807372498785043</c:v>
                </c:pt>
                <c:pt idx="114">
                  <c:v>16.214239378778998</c:v>
                </c:pt>
                <c:pt idx="115">
                  <c:v>11.948257382855118</c:v>
                </c:pt>
                <c:pt idx="116">
                  <c:v>11.665216640843767</c:v>
                </c:pt>
                <c:pt idx="117">
                  <c:v>5.8308548695918745</c:v>
                </c:pt>
                <c:pt idx="118">
                  <c:v>4.1401530045940689</c:v>
                </c:pt>
                <c:pt idx="119">
                  <c:v>1.9588666260878256</c:v>
                </c:pt>
                <c:pt idx="120">
                  <c:v>2.0018754291599237</c:v>
                </c:pt>
                <c:pt idx="121">
                  <c:v>5.8941522448272821</c:v>
                </c:pt>
                <c:pt idx="122">
                  <c:v>7.2191941995940851</c:v>
                </c:pt>
                <c:pt idx="123">
                  <c:v>11.261712901497575</c:v>
                </c:pt>
                <c:pt idx="124">
                  <c:v>9.9191314504266188</c:v>
                </c:pt>
                <c:pt idx="125">
                  <c:v>6.1240642449639608</c:v>
                </c:pt>
                <c:pt idx="126">
                  <c:v>3.2017795579784689</c:v>
                </c:pt>
                <c:pt idx="127">
                  <c:v>-0.81772940161319241</c:v>
                </c:pt>
                <c:pt idx="128">
                  <c:v>0.1284088792525182</c:v>
                </c:pt>
                <c:pt idx="129">
                  <c:v>1.0901282626300031</c:v>
                </c:pt>
                <c:pt idx="130">
                  <c:v>-3.8409794067319751</c:v>
                </c:pt>
                <c:pt idx="131">
                  <c:v>-4.6961008447190267</c:v>
                </c:pt>
                <c:pt idx="132">
                  <c:v>-8.0818939939420034</c:v>
                </c:pt>
                <c:pt idx="133">
                  <c:v>-8.9647772042970075</c:v>
                </c:pt>
                <c:pt idx="134">
                  <c:v>-7.1704147041793931</c:v>
                </c:pt>
                <c:pt idx="135">
                  <c:v>-4.6859254677197555</c:v>
                </c:pt>
                <c:pt idx="136">
                  <c:v>-5.8947766421779733</c:v>
                </c:pt>
                <c:pt idx="137">
                  <c:v>-8.1655940144046468</c:v>
                </c:pt>
                <c:pt idx="138">
                  <c:v>-8.1667109278119767</c:v>
                </c:pt>
                <c:pt idx="139">
                  <c:v>-9.1082663588310879</c:v>
                </c:pt>
                <c:pt idx="140">
                  <c:v>-3.0680843369524098</c:v>
                </c:pt>
                <c:pt idx="141">
                  <c:v>2.128298192211318</c:v>
                </c:pt>
                <c:pt idx="142">
                  <c:v>4.0677262879909648</c:v>
                </c:pt>
                <c:pt idx="143">
                  <c:v>3.2061278104083186</c:v>
                </c:pt>
                <c:pt idx="144">
                  <c:v>-7.1501863488691697E-2</c:v>
                </c:pt>
                <c:pt idx="145">
                  <c:v>0.65222311471895011</c:v>
                </c:pt>
                <c:pt idx="146">
                  <c:v>1.0283032298970483</c:v>
                </c:pt>
                <c:pt idx="147">
                  <c:v>2.6085099203592392</c:v>
                </c:pt>
                <c:pt idx="148">
                  <c:v>7.6904874823648726</c:v>
                </c:pt>
                <c:pt idx="149">
                  <c:v>6.3169816419315481</c:v>
                </c:pt>
                <c:pt idx="150">
                  <c:v>6.0610140410621653</c:v>
                </c:pt>
                <c:pt idx="151">
                  <c:v>6.8327473714727915</c:v>
                </c:pt>
                <c:pt idx="152">
                  <c:v>1.4869589178365459</c:v>
                </c:pt>
                <c:pt idx="153">
                  <c:v>0.44005476402850263</c:v>
                </c:pt>
                <c:pt idx="154">
                  <c:v>0.46184976942076617</c:v>
                </c:pt>
                <c:pt idx="155">
                  <c:v>-1.0583352571274816</c:v>
                </c:pt>
                <c:pt idx="156">
                  <c:v>-1.3885429034316843</c:v>
                </c:pt>
                <c:pt idx="157">
                  <c:v>-2.1364780554463607</c:v>
                </c:pt>
                <c:pt idx="158">
                  <c:v>-2.5196455762115448</c:v>
                </c:pt>
                <c:pt idx="159">
                  <c:v>-1.3919670054193034</c:v>
                </c:pt>
                <c:pt idx="160">
                  <c:v>-2.2062739293109814</c:v>
                </c:pt>
                <c:pt idx="161">
                  <c:v>1.8160134997289674</c:v>
                </c:pt>
                <c:pt idx="162">
                  <c:v>17.913963152882289</c:v>
                </c:pt>
                <c:pt idx="163">
                  <c:v>18.056632737468178</c:v>
                </c:pt>
                <c:pt idx="164">
                  <c:v>26.456026148974402</c:v>
                </c:pt>
                <c:pt idx="165">
                  <c:v>24.504077128739326</c:v>
                </c:pt>
                <c:pt idx="166">
                  <c:v>9.7054243592315856</c:v>
                </c:pt>
                <c:pt idx="167">
                  <c:v>10.377014386249982</c:v>
                </c:pt>
                <c:pt idx="168">
                  <c:v>4.7927251263216988</c:v>
                </c:pt>
                <c:pt idx="169">
                  <c:v>2.1897929187877878</c:v>
                </c:pt>
                <c:pt idx="170">
                  <c:v>1.9835930412833704</c:v>
                </c:pt>
                <c:pt idx="171">
                  <c:v>2.0669246617010373</c:v>
                </c:pt>
                <c:pt idx="172">
                  <c:v>2.8412104231273076</c:v>
                </c:pt>
                <c:pt idx="173">
                  <c:v>1.9537968712492102</c:v>
                </c:pt>
                <c:pt idx="174">
                  <c:v>0.85145582490075356</c:v>
                </c:pt>
                <c:pt idx="175">
                  <c:v>0.64978853240103263</c:v>
                </c:pt>
                <c:pt idx="176">
                  <c:v>2.6409871053120213</c:v>
                </c:pt>
                <c:pt idx="177">
                  <c:v>5.9553863236825322</c:v>
                </c:pt>
                <c:pt idx="178">
                  <c:v>8.0043542502392597</c:v>
                </c:pt>
                <c:pt idx="179">
                  <c:v>9.6625257670790461</c:v>
                </c:pt>
                <c:pt idx="180">
                  <c:v>7.5124093882679119</c:v>
                </c:pt>
                <c:pt idx="181">
                  <c:v>8.699813866097486</c:v>
                </c:pt>
                <c:pt idx="182">
                  <c:v>9.1309157437709558</c:v>
                </c:pt>
                <c:pt idx="183">
                  <c:v>7.822885146954178</c:v>
                </c:pt>
                <c:pt idx="184">
                  <c:v>8.1241079934404326</c:v>
                </c:pt>
                <c:pt idx="185">
                  <c:v>4.4255125996179601</c:v>
                </c:pt>
                <c:pt idx="186">
                  <c:v>2.1978415811803274</c:v>
                </c:pt>
                <c:pt idx="187">
                  <c:v>1.6768553571977094</c:v>
                </c:pt>
                <c:pt idx="188">
                  <c:v>2.1952784796340126</c:v>
                </c:pt>
                <c:pt idx="189">
                  <c:v>4.8440843386924115</c:v>
                </c:pt>
                <c:pt idx="190">
                  <c:v>6.2211089043135104</c:v>
                </c:pt>
                <c:pt idx="191">
                  <c:v>5.7630133709117217</c:v>
                </c:pt>
                <c:pt idx="192">
                  <c:v>4.5517247386667918</c:v>
                </c:pt>
                <c:pt idx="193">
                  <c:v>4.1810053689602E-2</c:v>
                </c:pt>
                <c:pt idx="194">
                  <c:v>-1.8564212138591643</c:v>
                </c:pt>
                <c:pt idx="195">
                  <c:v>-4.5407444726514541</c:v>
                </c:pt>
                <c:pt idx="196">
                  <c:v>-4.3539146206302206</c:v>
                </c:pt>
                <c:pt idx="197">
                  <c:v>-4.2207719295982997</c:v>
                </c:pt>
                <c:pt idx="198">
                  <c:v>-4.4683308423874735</c:v>
                </c:pt>
                <c:pt idx="199">
                  <c:v>-3.6200298682925336</c:v>
                </c:pt>
                <c:pt idx="200">
                  <c:v>-2.7646475672791837</c:v>
                </c:pt>
                <c:pt idx="201">
                  <c:v>-1.2240697731460131</c:v>
                </c:pt>
                <c:pt idx="202">
                  <c:v>-0.7506057950339766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431-4766-AB30-7EB3CB2E8345}"/>
            </c:ext>
          </c:extLst>
        </c:ser>
        <c:ser>
          <c:idx val="5"/>
          <c:order val="4"/>
          <c:tx>
            <c:strRef>
              <c:f>'指数合成-1.0'!$DI$8</c:f>
              <c:strCache>
                <c:ptCount val="1"/>
                <c:pt idx="0">
                  <c:v>投资</c:v>
                </c:pt>
              </c:strCache>
            </c:strRef>
          </c:tx>
          <c:spPr>
            <a:ln w="28575" cap="rnd">
              <a:solidFill>
                <a:sysClr val="windowText" lastClr="000000">
                  <a:lumMod val="50000"/>
                  <a:lumOff val="50000"/>
                </a:sysClr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165:$DC$369</c:f>
              <c:numCache>
                <c:formatCode>yyyy\-mm\-dd</c:formatCode>
                <c:ptCount val="205"/>
                <c:pt idx="0">
                  <c:v>44561</c:v>
                </c:pt>
                <c:pt idx="1">
                  <c:v>44568</c:v>
                </c:pt>
                <c:pt idx="2">
                  <c:v>44575</c:v>
                </c:pt>
                <c:pt idx="3">
                  <c:v>44582</c:v>
                </c:pt>
                <c:pt idx="4">
                  <c:v>44589</c:v>
                </c:pt>
                <c:pt idx="5">
                  <c:v>44596</c:v>
                </c:pt>
                <c:pt idx="6">
                  <c:v>44603</c:v>
                </c:pt>
                <c:pt idx="7">
                  <c:v>44610</c:v>
                </c:pt>
                <c:pt idx="8">
                  <c:v>44617</c:v>
                </c:pt>
                <c:pt idx="9">
                  <c:v>44624</c:v>
                </c:pt>
                <c:pt idx="10">
                  <c:v>44631</c:v>
                </c:pt>
                <c:pt idx="11">
                  <c:v>44638</c:v>
                </c:pt>
                <c:pt idx="12">
                  <c:v>44645</c:v>
                </c:pt>
                <c:pt idx="13">
                  <c:v>44652</c:v>
                </c:pt>
                <c:pt idx="14">
                  <c:v>44659</c:v>
                </c:pt>
                <c:pt idx="15">
                  <c:v>44666</c:v>
                </c:pt>
                <c:pt idx="16">
                  <c:v>44673</c:v>
                </c:pt>
                <c:pt idx="17">
                  <c:v>44680</c:v>
                </c:pt>
                <c:pt idx="18">
                  <c:v>44687</c:v>
                </c:pt>
                <c:pt idx="19">
                  <c:v>44694</c:v>
                </c:pt>
                <c:pt idx="20">
                  <c:v>44701</c:v>
                </c:pt>
                <c:pt idx="21">
                  <c:v>44708</c:v>
                </c:pt>
                <c:pt idx="22">
                  <c:v>44715</c:v>
                </c:pt>
                <c:pt idx="23">
                  <c:v>44722</c:v>
                </c:pt>
                <c:pt idx="24">
                  <c:v>44729</c:v>
                </c:pt>
                <c:pt idx="25">
                  <c:v>44736</c:v>
                </c:pt>
                <c:pt idx="26">
                  <c:v>44743</c:v>
                </c:pt>
                <c:pt idx="27">
                  <c:v>44750</c:v>
                </c:pt>
                <c:pt idx="28">
                  <c:v>44757</c:v>
                </c:pt>
                <c:pt idx="29">
                  <c:v>44764</c:v>
                </c:pt>
                <c:pt idx="30">
                  <c:v>44771</c:v>
                </c:pt>
                <c:pt idx="31">
                  <c:v>44778</c:v>
                </c:pt>
                <c:pt idx="32">
                  <c:v>44785</c:v>
                </c:pt>
                <c:pt idx="33">
                  <c:v>44792</c:v>
                </c:pt>
                <c:pt idx="34">
                  <c:v>44799</c:v>
                </c:pt>
                <c:pt idx="35">
                  <c:v>44806</c:v>
                </c:pt>
                <c:pt idx="36">
                  <c:v>44813</c:v>
                </c:pt>
                <c:pt idx="37">
                  <c:v>44820</c:v>
                </c:pt>
                <c:pt idx="38">
                  <c:v>44827</c:v>
                </c:pt>
                <c:pt idx="39">
                  <c:v>44834</c:v>
                </c:pt>
                <c:pt idx="40">
                  <c:v>44841</c:v>
                </c:pt>
                <c:pt idx="41">
                  <c:v>44848</c:v>
                </c:pt>
                <c:pt idx="42">
                  <c:v>44855</c:v>
                </c:pt>
                <c:pt idx="43">
                  <c:v>44862</c:v>
                </c:pt>
                <c:pt idx="44">
                  <c:v>44869</c:v>
                </c:pt>
                <c:pt idx="45">
                  <c:v>44876</c:v>
                </c:pt>
                <c:pt idx="46">
                  <c:v>44883</c:v>
                </c:pt>
                <c:pt idx="47">
                  <c:v>44890</c:v>
                </c:pt>
                <c:pt idx="48">
                  <c:v>44897</c:v>
                </c:pt>
                <c:pt idx="49">
                  <c:v>44904</c:v>
                </c:pt>
                <c:pt idx="50">
                  <c:v>44911</c:v>
                </c:pt>
                <c:pt idx="51">
                  <c:v>44918</c:v>
                </c:pt>
                <c:pt idx="52">
                  <c:v>44925</c:v>
                </c:pt>
                <c:pt idx="53">
                  <c:v>44932</c:v>
                </c:pt>
                <c:pt idx="54">
                  <c:v>44939</c:v>
                </c:pt>
                <c:pt idx="55">
                  <c:v>44946</c:v>
                </c:pt>
                <c:pt idx="56">
                  <c:v>44953</c:v>
                </c:pt>
                <c:pt idx="57">
                  <c:v>44960</c:v>
                </c:pt>
                <c:pt idx="58">
                  <c:v>44967</c:v>
                </c:pt>
                <c:pt idx="59">
                  <c:v>44974</c:v>
                </c:pt>
                <c:pt idx="60">
                  <c:v>44981</c:v>
                </c:pt>
                <c:pt idx="61">
                  <c:v>44988</c:v>
                </c:pt>
                <c:pt idx="62">
                  <c:v>44995</c:v>
                </c:pt>
                <c:pt idx="63">
                  <c:v>45002</c:v>
                </c:pt>
                <c:pt idx="64">
                  <c:v>45009</c:v>
                </c:pt>
                <c:pt idx="65">
                  <c:v>45016</c:v>
                </c:pt>
                <c:pt idx="66">
                  <c:v>45023</c:v>
                </c:pt>
                <c:pt idx="67">
                  <c:v>45030</c:v>
                </c:pt>
                <c:pt idx="68">
                  <c:v>45037</c:v>
                </c:pt>
                <c:pt idx="69">
                  <c:v>45044</c:v>
                </c:pt>
                <c:pt idx="70">
                  <c:v>45051</c:v>
                </c:pt>
                <c:pt idx="71">
                  <c:v>45058</c:v>
                </c:pt>
                <c:pt idx="72">
                  <c:v>45065</c:v>
                </c:pt>
                <c:pt idx="73">
                  <c:v>45072</c:v>
                </c:pt>
                <c:pt idx="74">
                  <c:v>45079</c:v>
                </c:pt>
                <c:pt idx="75">
                  <c:v>45086</c:v>
                </c:pt>
                <c:pt idx="76">
                  <c:v>45093</c:v>
                </c:pt>
                <c:pt idx="77">
                  <c:v>45100</c:v>
                </c:pt>
                <c:pt idx="78">
                  <c:v>45107</c:v>
                </c:pt>
                <c:pt idx="79">
                  <c:v>45114</c:v>
                </c:pt>
                <c:pt idx="80">
                  <c:v>45121</c:v>
                </c:pt>
                <c:pt idx="81">
                  <c:v>45128</c:v>
                </c:pt>
                <c:pt idx="82">
                  <c:v>45135</c:v>
                </c:pt>
                <c:pt idx="83">
                  <c:v>45142</c:v>
                </c:pt>
                <c:pt idx="84">
                  <c:v>45149</c:v>
                </c:pt>
                <c:pt idx="85">
                  <c:v>45156</c:v>
                </c:pt>
                <c:pt idx="86">
                  <c:v>45163</c:v>
                </c:pt>
                <c:pt idx="87">
                  <c:v>45170</c:v>
                </c:pt>
                <c:pt idx="88">
                  <c:v>45177</c:v>
                </c:pt>
                <c:pt idx="89">
                  <c:v>45184</c:v>
                </c:pt>
                <c:pt idx="90">
                  <c:v>45191</c:v>
                </c:pt>
                <c:pt idx="91">
                  <c:v>45198</c:v>
                </c:pt>
                <c:pt idx="92">
                  <c:v>45205</c:v>
                </c:pt>
                <c:pt idx="93">
                  <c:v>45212</c:v>
                </c:pt>
                <c:pt idx="94">
                  <c:v>45219</c:v>
                </c:pt>
                <c:pt idx="95">
                  <c:v>45226</c:v>
                </c:pt>
                <c:pt idx="96">
                  <c:v>45233</c:v>
                </c:pt>
                <c:pt idx="97">
                  <c:v>45240</c:v>
                </c:pt>
                <c:pt idx="98">
                  <c:v>45247</c:v>
                </c:pt>
                <c:pt idx="99">
                  <c:v>45254</c:v>
                </c:pt>
                <c:pt idx="100">
                  <c:v>45261</c:v>
                </c:pt>
                <c:pt idx="101">
                  <c:v>45268</c:v>
                </c:pt>
                <c:pt idx="102">
                  <c:v>45275</c:v>
                </c:pt>
                <c:pt idx="103">
                  <c:v>45282</c:v>
                </c:pt>
                <c:pt idx="104">
                  <c:v>45289</c:v>
                </c:pt>
                <c:pt idx="105">
                  <c:v>45296</c:v>
                </c:pt>
                <c:pt idx="106">
                  <c:v>45303</c:v>
                </c:pt>
                <c:pt idx="107">
                  <c:v>45310</c:v>
                </c:pt>
                <c:pt idx="108">
                  <c:v>45317</c:v>
                </c:pt>
                <c:pt idx="109">
                  <c:v>45324</c:v>
                </c:pt>
                <c:pt idx="110">
                  <c:v>45331</c:v>
                </c:pt>
                <c:pt idx="111">
                  <c:v>45338</c:v>
                </c:pt>
                <c:pt idx="112">
                  <c:v>45345</c:v>
                </c:pt>
                <c:pt idx="113">
                  <c:v>45352</c:v>
                </c:pt>
                <c:pt idx="114">
                  <c:v>45359</c:v>
                </c:pt>
                <c:pt idx="115">
                  <c:v>45366</c:v>
                </c:pt>
                <c:pt idx="116">
                  <c:v>45373</c:v>
                </c:pt>
                <c:pt idx="117">
                  <c:v>45380</c:v>
                </c:pt>
                <c:pt idx="118">
                  <c:v>45387</c:v>
                </c:pt>
                <c:pt idx="119">
                  <c:v>45394</c:v>
                </c:pt>
                <c:pt idx="120">
                  <c:v>45401</c:v>
                </c:pt>
                <c:pt idx="121">
                  <c:v>45408</c:v>
                </c:pt>
                <c:pt idx="122">
                  <c:v>45415</c:v>
                </c:pt>
                <c:pt idx="123">
                  <c:v>45422</c:v>
                </c:pt>
                <c:pt idx="124">
                  <c:v>45429</c:v>
                </c:pt>
                <c:pt idx="125">
                  <c:v>45436</c:v>
                </c:pt>
                <c:pt idx="126">
                  <c:v>45443</c:v>
                </c:pt>
                <c:pt idx="127">
                  <c:v>45450</c:v>
                </c:pt>
                <c:pt idx="128">
                  <c:v>45457</c:v>
                </c:pt>
                <c:pt idx="129">
                  <c:v>45464</c:v>
                </c:pt>
                <c:pt idx="130">
                  <c:v>45471</c:v>
                </c:pt>
                <c:pt idx="131">
                  <c:v>45478</c:v>
                </c:pt>
                <c:pt idx="132">
                  <c:v>45485</c:v>
                </c:pt>
                <c:pt idx="133">
                  <c:v>45492</c:v>
                </c:pt>
                <c:pt idx="134">
                  <c:v>45499</c:v>
                </c:pt>
                <c:pt idx="135">
                  <c:v>45506</c:v>
                </c:pt>
                <c:pt idx="136">
                  <c:v>45513</c:v>
                </c:pt>
                <c:pt idx="137">
                  <c:v>45520</c:v>
                </c:pt>
                <c:pt idx="138">
                  <c:v>45527</c:v>
                </c:pt>
                <c:pt idx="139">
                  <c:v>45534</c:v>
                </c:pt>
                <c:pt idx="140">
                  <c:v>45541</c:v>
                </c:pt>
                <c:pt idx="141">
                  <c:v>45548</c:v>
                </c:pt>
                <c:pt idx="142">
                  <c:v>45555</c:v>
                </c:pt>
                <c:pt idx="143">
                  <c:v>45562</c:v>
                </c:pt>
                <c:pt idx="144">
                  <c:v>45569</c:v>
                </c:pt>
                <c:pt idx="145">
                  <c:v>45576</c:v>
                </c:pt>
                <c:pt idx="146">
                  <c:v>45583</c:v>
                </c:pt>
                <c:pt idx="147">
                  <c:v>45590</c:v>
                </c:pt>
                <c:pt idx="148">
                  <c:v>45597</c:v>
                </c:pt>
                <c:pt idx="149">
                  <c:v>45604</c:v>
                </c:pt>
                <c:pt idx="150">
                  <c:v>45611</c:v>
                </c:pt>
                <c:pt idx="151">
                  <c:v>45618</c:v>
                </c:pt>
                <c:pt idx="152">
                  <c:v>45625</c:v>
                </c:pt>
                <c:pt idx="153">
                  <c:v>45632</c:v>
                </c:pt>
                <c:pt idx="154">
                  <c:v>45639</c:v>
                </c:pt>
                <c:pt idx="155">
                  <c:v>45646</c:v>
                </c:pt>
                <c:pt idx="156">
                  <c:v>45653</c:v>
                </c:pt>
                <c:pt idx="157">
                  <c:v>45660</c:v>
                </c:pt>
                <c:pt idx="158">
                  <c:v>45667</c:v>
                </c:pt>
                <c:pt idx="159">
                  <c:v>45674</c:v>
                </c:pt>
                <c:pt idx="160">
                  <c:v>45681</c:v>
                </c:pt>
                <c:pt idx="161">
                  <c:v>45688</c:v>
                </c:pt>
                <c:pt idx="162">
                  <c:v>45695</c:v>
                </c:pt>
                <c:pt idx="163">
                  <c:v>45702</c:v>
                </c:pt>
                <c:pt idx="164">
                  <c:v>45709</c:v>
                </c:pt>
                <c:pt idx="165">
                  <c:v>45716</c:v>
                </c:pt>
                <c:pt idx="166">
                  <c:v>45723</c:v>
                </c:pt>
                <c:pt idx="167">
                  <c:v>45730</c:v>
                </c:pt>
                <c:pt idx="168">
                  <c:v>45737</c:v>
                </c:pt>
                <c:pt idx="169">
                  <c:v>45744</c:v>
                </c:pt>
                <c:pt idx="170">
                  <c:v>45751</c:v>
                </c:pt>
                <c:pt idx="171">
                  <c:v>45758</c:v>
                </c:pt>
                <c:pt idx="172">
                  <c:v>45765</c:v>
                </c:pt>
                <c:pt idx="173">
                  <c:v>45772</c:v>
                </c:pt>
                <c:pt idx="174">
                  <c:v>45779</c:v>
                </c:pt>
                <c:pt idx="175">
                  <c:v>45786</c:v>
                </c:pt>
                <c:pt idx="176">
                  <c:v>45793</c:v>
                </c:pt>
                <c:pt idx="177">
                  <c:v>45800</c:v>
                </c:pt>
                <c:pt idx="178">
                  <c:v>45807</c:v>
                </c:pt>
                <c:pt idx="179">
                  <c:v>45814</c:v>
                </c:pt>
                <c:pt idx="180">
                  <c:v>45821</c:v>
                </c:pt>
                <c:pt idx="181">
                  <c:v>45828</c:v>
                </c:pt>
                <c:pt idx="182">
                  <c:v>45835</c:v>
                </c:pt>
                <c:pt idx="183">
                  <c:v>45842</c:v>
                </c:pt>
                <c:pt idx="184">
                  <c:v>45849</c:v>
                </c:pt>
                <c:pt idx="185">
                  <c:v>45856</c:v>
                </c:pt>
                <c:pt idx="186">
                  <c:v>45863</c:v>
                </c:pt>
                <c:pt idx="187">
                  <c:v>45870</c:v>
                </c:pt>
                <c:pt idx="188">
                  <c:v>45877</c:v>
                </c:pt>
                <c:pt idx="189">
                  <c:v>45884</c:v>
                </c:pt>
                <c:pt idx="190">
                  <c:v>45891</c:v>
                </c:pt>
                <c:pt idx="191">
                  <c:v>45898</c:v>
                </c:pt>
                <c:pt idx="192">
                  <c:v>45905</c:v>
                </c:pt>
                <c:pt idx="193">
                  <c:v>45912</c:v>
                </c:pt>
                <c:pt idx="194">
                  <c:v>45919</c:v>
                </c:pt>
                <c:pt idx="195">
                  <c:v>45926</c:v>
                </c:pt>
                <c:pt idx="196">
                  <c:v>45933</c:v>
                </c:pt>
                <c:pt idx="197">
                  <c:v>45940</c:v>
                </c:pt>
                <c:pt idx="198">
                  <c:v>45947</c:v>
                </c:pt>
                <c:pt idx="199">
                  <c:v>45954</c:v>
                </c:pt>
                <c:pt idx="200">
                  <c:v>45961</c:v>
                </c:pt>
                <c:pt idx="201">
                  <c:v>45968</c:v>
                </c:pt>
                <c:pt idx="202">
                  <c:v>45975</c:v>
                </c:pt>
              </c:numCache>
            </c:numRef>
          </c:cat>
          <c:val>
            <c:numRef>
              <c:f>'指数合成-1.0'!$DI$165:$DI$369</c:f>
              <c:numCache>
                <c:formatCode>0.0</c:formatCode>
                <c:ptCount val="205"/>
                <c:pt idx="0">
                  <c:v>-16.45582413757441</c:v>
                </c:pt>
                <c:pt idx="1">
                  <c:v>-18.276120079194285</c:v>
                </c:pt>
                <c:pt idx="2">
                  <c:v>-20.683918441256736</c:v>
                </c:pt>
                <c:pt idx="3">
                  <c:v>-25.975495387591977</c:v>
                </c:pt>
                <c:pt idx="4">
                  <c:v>-36.102984188408591</c:v>
                </c:pt>
                <c:pt idx="5">
                  <c:v>-43.957081477314176</c:v>
                </c:pt>
                <c:pt idx="6">
                  <c:v>-52.000197501262072</c:v>
                </c:pt>
                <c:pt idx="7">
                  <c:v>-51.163868622720152</c:v>
                </c:pt>
                <c:pt idx="8">
                  <c:v>-35.466808463443783</c:v>
                </c:pt>
                <c:pt idx="9">
                  <c:v>-21.559121787080116</c:v>
                </c:pt>
                <c:pt idx="10">
                  <c:v>-16.278441785530603</c:v>
                </c:pt>
                <c:pt idx="11">
                  <c:v>-23.852499713085308</c:v>
                </c:pt>
                <c:pt idx="12">
                  <c:v>-28.913060415316565</c:v>
                </c:pt>
                <c:pt idx="13">
                  <c:v>-33.216908263233037</c:v>
                </c:pt>
                <c:pt idx="14">
                  <c:v>-39.258544381528992</c:v>
                </c:pt>
                <c:pt idx="15">
                  <c:v>-39.571468663199319</c:v>
                </c:pt>
                <c:pt idx="16">
                  <c:v>-39.185838201215937</c:v>
                </c:pt>
                <c:pt idx="17">
                  <c:v>-39.687365248036599</c:v>
                </c:pt>
                <c:pt idx="18">
                  <c:v>-38.289647940735513</c:v>
                </c:pt>
                <c:pt idx="19">
                  <c:v>-37.748554641950896</c:v>
                </c:pt>
                <c:pt idx="20">
                  <c:v>-37.285051683261273</c:v>
                </c:pt>
                <c:pt idx="21">
                  <c:v>-33.524631940038262</c:v>
                </c:pt>
                <c:pt idx="22">
                  <c:v>-30.429527679142637</c:v>
                </c:pt>
                <c:pt idx="23">
                  <c:v>-28.569530533555238</c:v>
                </c:pt>
                <c:pt idx="24">
                  <c:v>-25.037903083021121</c:v>
                </c:pt>
                <c:pt idx="25">
                  <c:v>-24.107330470522726</c:v>
                </c:pt>
                <c:pt idx="26">
                  <c:v>-18.783120870610759</c:v>
                </c:pt>
                <c:pt idx="27">
                  <c:v>-11.990665741741353</c:v>
                </c:pt>
                <c:pt idx="28">
                  <c:v>-9.5586923572470255</c:v>
                </c:pt>
                <c:pt idx="29">
                  <c:v>-6.0206640827475439</c:v>
                </c:pt>
                <c:pt idx="30">
                  <c:v>-5.5901520052744615</c:v>
                </c:pt>
                <c:pt idx="31">
                  <c:v>-7.2547022922268809</c:v>
                </c:pt>
                <c:pt idx="32">
                  <c:v>-7.9076262708647533</c:v>
                </c:pt>
                <c:pt idx="33">
                  <c:v>-8.9252201445076338</c:v>
                </c:pt>
                <c:pt idx="34">
                  <c:v>-11.368707805418424</c:v>
                </c:pt>
                <c:pt idx="35">
                  <c:v>-11.175572899457052</c:v>
                </c:pt>
                <c:pt idx="36">
                  <c:v>-9.1488944222311517</c:v>
                </c:pt>
                <c:pt idx="37">
                  <c:v>-7.8533942808096953</c:v>
                </c:pt>
                <c:pt idx="38">
                  <c:v>-3.4320352725546144</c:v>
                </c:pt>
                <c:pt idx="39">
                  <c:v>0.11639550374589192</c:v>
                </c:pt>
                <c:pt idx="40">
                  <c:v>-3.3527252453706211</c:v>
                </c:pt>
                <c:pt idx="41">
                  <c:v>-0.95582262756832392</c:v>
                </c:pt>
                <c:pt idx="42">
                  <c:v>-2.6672392793723958</c:v>
                </c:pt>
                <c:pt idx="43">
                  <c:v>-5.2161917138892875</c:v>
                </c:pt>
                <c:pt idx="44">
                  <c:v>-1.7708039410420611</c:v>
                </c:pt>
                <c:pt idx="45">
                  <c:v>-2.4294599078519354</c:v>
                </c:pt>
                <c:pt idx="46">
                  <c:v>-1.926386991480129</c:v>
                </c:pt>
                <c:pt idx="47">
                  <c:v>-3.2797759981083914</c:v>
                </c:pt>
                <c:pt idx="48">
                  <c:v>-5.3464857807008315</c:v>
                </c:pt>
                <c:pt idx="49">
                  <c:v>-7.2025097284791144</c:v>
                </c:pt>
                <c:pt idx="50">
                  <c:v>-9.6068304108250118</c:v>
                </c:pt>
                <c:pt idx="51">
                  <c:v>-12.064473464510286</c:v>
                </c:pt>
                <c:pt idx="52">
                  <c:v>-14.404535953943068</c:v>
                </c:pt>
                <c:pt idx="53">
                  <c:v>-17.701529926856054</c:v>
                </c:pt>
                <c:pt idx="54">
                  <c:v>-25.842974019696172</c:v>
                </c:pt>
                <c:pt idx="55">
                  <c:v>-36.060519934033252</c:v>
                </c:pt>
                <c:pt idx="56">
                  <c:v>-42.53498479254668</c:v>
                </c:pt>
                <c:pt idx="57">
                  <c:v>-43.734415840100759</c:v>
                </c:pt>
                <c:pt idx="58">
                  <c:v>-10.396298240183285</c:v>
                </c:pt>
                <c:pt idx="59">
                  <c:v>56.582383258928729</c:v>
                </c:pt>
                <c:pt idx="60">
                  <c:v>84.483340344759739</c:v>
                </c:pt>
                <c:pt idx="61">
                  <c:v>69.918614776826189</c:v>
                </c:pt>
                <c:pt idx="62">
                  <c:v>40.028484853685342</c:v>
                </c:pt>
                <c:pt idx="63">
                  <c:v>29.096923279311625</c:v>
                </c:pt>
                <c:pt idx="64">
                  <c:v>21.95541234511073</c:v>
                </c:pt>
                <c:pt idx="65">
                  <c:v>20.253932099108212</c:v>
                </c:pt>
                <c:pt idx="66">
                  <c:v>24.430263153852437</c:v>
                </c:pt>
                <c:pt idx="67">
                  <c:v>22.279824353876478</c:v>
                </c:pt>
                <c:pt idx="68">
                  <c:v>21.378974814701351</c:v>
                </c:pt>
                <c:pt idx="69">
                  <c:v>21.356032811732732</c:v>
                </c:pt>
                <c:pt idx="70">
                  <c:v>17.000623471486563</c:v>
                </c:pt>
                <c:pt idx="71">
                  <c:v>16.018173359250312</c:v>
                </c:pt>
                <c:pt idx="72">
                  <c:v>15.446752420776562</c:v>
                </c:pt>
                <c:pt idx="73">
                  <c:v>12.40362607445303</c:v>
                </c:pt>
                <c:pt idx="74">
                  <c:v>12.641044239328608</c:v>
                </c:pt>
                <c:pt idx="75">
                  <c:v>13.51912182000676</c:v>
                </c:pt>
                <c:pt idx="76">
                  <c:v>11.572068393525186</c:v>
                </c:pt>
                <c:pt idx="77">
                  <c:v>9.7676877657488603</c:v>
                </c:pt>
                <c:pt idx="78">
                  <c:v>5.2243781175369151</c:v>
                </c:pt>
                <c:pt idx="79">
                  <c:v>0.42472472079811041</c:v>
                </c:pt>
                <c:pt idx="80">
                  <c:v>-2.1792941248772877</c:v>
                </c:pt>
                <c:pt idx="81">
                  <c:v>-4.0790443151091722</c:v>
                </c:pt>
                <c:pt idx="82">
                  <c:v>-3.7901054730645001</c:v>
                </c:pt>
                <c:pt idx="83">
                  <c:v>-4.0331419307212997</c:v>
                </c:pt>
                <c:pt idx="84">
                  <c:v>-2.6644959501545458</c:v>
                </c:pt>
                <c:pt idx="85">
                  <c:v>1.1488113703309608</c:v>
                </c:pt>
                <c:pt idx="86">
                  <c:v>4.4942754479790921</c:v>
                </c:pt>
                <c:pt idx="87">
                  <c:v>6.9039875802000097</c:v>
                </c:pt>
                <c:pt idx="88">
                  <c:v>8.8068889843017928</c:v>
                </c:pt>
                <c:pt idx="89">
                  <c:v>8.0338783512191299</c:v>
                </c:pt>
                <c:pt idx="90">
                  <c:v>4.3033884139253473</c:v>
                </c:pt>
                <c:pt idx="91">
                  <c:v>-1.0024370104468829</c:v>
                </c:pt>
                <c:pt idx="92">
                  <c:v>-4.3183552890971271</c:v>
                </c:pt>
                <c:pt idx="93">
                  <c:v>-8.4121155746742886</c:v>
                </c:pt>
                <c:pt idx="94">
                  <c:v>-7.5923772722067753</c:v>
                </c:pt>
                <c:pt idx="95">
                  <c:v>-3.0955172012002521</c:v>
                </c:pt>
                <c:pt idx="96">
                  <c:v>-1.4411435392204908</c:v>
                </c:pt>
                <c:pt idx="97">
                  <c:v>-0.38290166171198337</c:v>
                </c:pt>
                <c:pt idx="98">
                  <c:v>-3.2453109530226527</c:v>
                </c:pt>
                <c:pt idx="99">
                  <c:v>-4.9427128595147565</c:v>
                </c:pt>
                <c:pt idx="100">
                  <c:v>-5.9517262341866086</c:v>
                </c:pt>
                <c:pt idx="101">
                  <c:v>-4.8155745811184261</c:v>
                </c:pt>
                <c:pt idx="102">
                  <c:v>-2.2586033046419658</c:v>
                </c:pt>
                <c:pt idx="103">
                  <c:v>-1.445073838184868</c:v>
                </c:pt>
                <c:pt idx="104">
                  <c:v>0.56275958709923657</c:v>
                </c:pt>
                <c:pt idx="105">
                  <c:v>4.5528165989399838</c:v>
                </c:pt>
                <c:pt idx="106">
                  <c:v>18.24345529674018</c:v>
                </c:pt>
                <c:pt idx="107">
                  <c:v>46.521879865857443</c:v>
                </c:pt>
                <c:pt idx="108">
                  <c:v>91.16697771685557</c:v>
                </c:pt>
                <c:pt idx="109">
                  <c:v>131.14763997934901</c:v>
                </c:pt>
                <c:pt idx="110">
                  <c:v>59.98932103550456</c:v>
                </c:pt>
                <c:pt idx="111">
                  <c:v>-22.071339912988435</c:v>
                </c:pt>
                <c:pt idx="112">
                  <c:v>-57.113844690482615</c:v>
                </c:pt>
                <c:pt idx="113">
                  <c:v>-63.707998413003651</c:v>
                </c:pt>
                <c:pt idx="114">
                  <c:v>-53.903474140448111</c:v>
                </c:pt>
                <c:pt idx="115">
                  <c:v>-38.506801627049626</c:v>
                </c:pt>
                <c:pt idx="116">
                  <c:v>-27.044881099949933</c:v>
                </c:pt>
                <c:pt idx="117">
                  <c:v>-20.34495094044226</c:v>
                </c:pt>
                <c:pt idx="118">
                  <c:v>-16.364429889425992</c:v>
                </c:pt>
                <c:pt idx="119">
                  <c:v>-14.64366905919411</c:v>
                </c:pt>
                <c:pt idx="120">
                  <c:v>-15.476364678432248</c:v>
                </c:pt>
                <c:pt idx="121">
                  <c:v>-16.744062313569245</c:v>
                </c:pt>
                <c:pt idx="122">
                  <c:v>-14.985196763713731</c:v>
                </c:pt>
                <c:pt idx="123">
                  <c:v>-17.573855644617538</c:v>
                </c:pt>
                <c:pt idx="124">
                  <c:v>-15.243987721530189</c:v>
                </c:pt>
                <c:pt idx="125">
                  <c:v>-12.522966992003319</c:v>
                </c:pt>
                <c:pt idx="126">
                  <c:v>-14.079059543173813</c:v>
                </c:pt>
                <c:pt idx="127">
                  <c:v>-12.594221756265867</c:v>
                </c:pt>
                <c:pt idx="128">
                  <c:v>-16.976114564815575</c:v>
                </c:pt>
                <c:pt idx="129">
                  <c:v>-20.095386963178925</c:v>
                </c:pt>
                <c:pt idx="130">
                  <c:v>-19.691556668766651</c:v>
                </c:pt>
                <c:pt idx="131">
                  <c:v>-19.27854342360493</c:v>
                </c:pt>
                <c:pt idx="132">
                  <c:v>-17.74845901954383</c:v>
                </c:pt>
                <c:pt idx="133">
                  <c:v>-17.640273152979489</c:v>
                </c:pt>
                <c:pt idx="134">
                  <c:v>-20.513238262053619</c:v>
                </c:pt>
                <c:pt idx="135">
                  <c:v>-22.278943730587955</c:v>
                </c:pt>
                <c:pt idx="136">
                  <c:v>-25.677173969701357</c:v>
                </c:pt>
                <c:pt idx="137">
                  <c:v>-28.524387063564589</c:v>
                </c:pt>
                <c:pt idx="138">
                  <c:v>-30.419799045374944</c:v>
                </c:pt>
                <c:pt idx="139">
                  <c:v>-30.572086084579539</c:v>
                </c:pt>
                <c:pt idx="140">
                  <c:v>-30.497264961147692</c:v>
                </c:pt>
                <c:pt idx="141">
                  <c:v>-29.34012380640651</c:v>
                </c:pt>
                <c:pt idx="142">
                  <c:v>-28.341269452498992</c:v>
                </c:pt>
                <c:pt idx="143">
                  <c:v>-27.042190891537118</c:v>
                </c:pt>
                <c:pt idx="144">
                  <c:v>-22.791892708702022</c:v>
                </c:pt>
                <c:pt idx="145">
                  <c:v>-21.225506450321916</c:v>
                </c:pt>
                <c:pt idx="146">
                  <c:v>-18.261772897537767</c:v>
                </c:pt>
                <c:pt idx="147">
                  <c:v>-17.647216391081912</c:v>
                </c:pt>
                <c:pt idx="148">
                  <c:v>-18.319280729491638</c:v>
                </c:pt>
                <c:pt idx="149">
                  <c:v>-17.192118784170731</c:v>
                </c:pt>
                <c:pt idx="150">
                  <c:v>-15.704441755630754</c:v>
                </c:pt>
                <c:pt idx="151">
                  <c:v>-13.935843854217367</c:v>
                </c:pt>
                <c:pt idx="152">
                  <c:v>-12.4009494713425</c:v>
                </c:pt>
                <c:pt idx="153">
                  <c:v>-11.371015591160216</c:v>
                </c:pt>
                <c:pt idx="154">
                  <c:v>-10.640410711725806</c:v>
                </c:pt>
                <c:pt idx="155">
                  <c:v>-7.5935788203417758</c:v>
                </c:pt>
                <c:pt idx="156">
                  <c:v>-4.3550696337150328</c:v>
                </c:pt>
                <c:pt idx="157">
                  <c:v>-1.9344221549015685</c:v>
                </c:pt>
                <c:pt idx="158">
                  <c:v>-2.3314133155281951</c:v>
                </c:pt>
                <c:pt idx="159">
                  <c:v>-4.7860762642682175</c:v>
                </c:pt>
                <c:pt idx="160">
                  <c:v>-14.044235436738632</c:v>
                </c:pt>
                <c:pt idx="161">
                  <c:v>-24.599840487188985</c:v>
                </c:pt>
                <c:pt idx="162">
                  <c:v>-28.455132230288825</c:v>
                </c:pt>
                <c:pt idx="163">
                  <c:v>-9.659009415830738</c:v>
                </c:pt>
                <c:pt idx="164">
                  <c:v>36.123079729474341</c:v>
                </c:pt>
                <c:pt idx="165">
                  <c:v>68.398228720042454</c:v>
                </c:pt>
                <c:pt idx="166">
                  <c:v>52.547236965131759</c:v>
                </c:pt>
                <c:pt idx="167">
                  <c:v>20.860713280310136</c:v>
                </c:pt>
                <c:pt idx="168">
                  <c:v>5.1447759721012147</c:v>
                </c:pt>
                <c:pt idx="169">
                  <c:v>-1.88009875946058</c:v>
                </c:pt>
                <c:pt idx="170">
                  <c:v>-4.9820977508595661</c:v>
                </c:pt>
                <c:pt idx="171">
                  <c:v>-6.7184732766296094</c:v>
                </c:pt>
                <c:pt idx="172">
                  <c:v>-5.4171440898828109</c:v>
                </c:pt>
                <c:pt idx="173">
                  <c:v>-2.7320895385142876</c:v>
                </c:pt>
                <c:pt idx="174">
                  <c:v>0.19349011467804189</c:v>
                </c:pt>
                <c:pt idx="175">
                  <c:v>0.80671924020970209</c:v>
                </c:pt>
                <c:pt idx="176">
                  <c:v>1.637744853443877</c:v>
                </c:pt>
                <c:pt idx="177">
                  <c:v>9.1192732409581367E-2</c:v>
                </c:pt>
                <c:pt idx="178">
                  <c:v>-1.8927057393554634</c:v>
                </c:pt>
                <c:pt idx="179">
                  <c:v>1.017634876550872</c:v>
                </c:pt>
                <c:pt idx="180">
                  <c:v>4.1304489439955461</c:v>
                </c:pt>
                <c:pt idx="181">
                  <c:v>8.1989918713406809</c:v>
                </c:pt>
                <c:pt idx="182">
                  <c:v>10.306403167480909</c:v>
                </c:pt>
                <c:pt idx="183">
                  <c:v>9.992960301777785</c:v>
                </c:pt>
                <c:pt idx="184">
                  <c:v>9.0255713528127899</c:v>
                </c:pt>
                <c:pt idx="185">
                  <c:v>9.1843965247923762</c:v>
                </c:pt>
                <c:pt idx="186">
                  <c:v>9.9855482312314763</c:v>
                </c:pt>
                <c:pt idx="187">
                  <c:v>11.407382882193346</c:v>
                </c:pt>
                <c:pt idx="188">
                  <c:v>12.426827831523539</c:v>
                </c:pt>
                <c:pt idx="189">
                  <c:v>12.142203659694189</c:v>
                </c:pt>
                <c:pt idx="190">
                  <c:v>12.60815021784714</c:v>
                </c:pt>
                <c:pt idx="191">
                  <c:v>9.6339013455908997</c:v>
                </c:pt>
                <c:pt idx="192">
                  <c:v>5.6979451578946367</c:v>
                </c:pt>
                <c:pt idx="193">
                  <c:v>5.1212951002619747</c:v>
                </c:pt>
                <c:pt idx="194">
                  <c:v>6.3567874849263006</c:v>
                </c:pt>
                <c:pt idx="195">
                  <c:v>9.9430340518163405</c:v>
                </c:pt>
                <c:pt idx="196">
                  <c:v>14.202085234121427</c:v>
                </c:pt>
                <c:pt idx="197">
                  <c:v>10.748911750521756</c:v>
                </c:pt>
                <c:pt idx="198">
                  <c:v>7.3200091035904791</c:v>
                </c:pt>
                <c:pt idx="199">
                  <c:v>3.0709546805360617</c:v>
                </c:pt>
                <c:pt idx="200">
                  <c:v>-0.22405534506808067</c:v>
                </c:pt>
                <c:pt idx="201">
                  <c:v>1.5337281101446223</c:v>
                </c:pt>
                <c:pt idx="202">
                  <c:v>0.132230867056321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B431-4766-AB30-7EB3CB2E8345}"/>
            </c:ext>
          </c:extLst>
        </c:ser>
        <c:ser>
          <c:idx val="6"/>
          <c:order val="5"/>
          <c:tx>
            <c:strRef>
              <c:f>'指数合成-1.0'!$DJ$8</c:f>
              <c:strCache>
                <c:ptCount val="1"/>
                <c:pt idx="0">
                  <c:v>出口</c:v>
                </c:pt>
              </c:strCache>
            </c:strRef>
          </c:tx>
          <c:spPr>
            <a:ln w="28575" cap="rnd">
              <a:solidFill>
                <a:srgbClr val="E10000"/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165:$DC$369</c:f>
              <c:numCache>
                <c:formatCode>yyyy\-mm\-dd</c:formatCode>
                <c:ptCount val="205"/>
                <c:pt idx="0">
                  <c:v>44561</c:v>
                </c:pt>
                <c:pt idx="1">
                  <c:v>44568</c:v>
                </c:pt>
                <c:pt idx="2">
                  <c:v>44575</c:v>
                </c:pt>
                <c:pt idx="3">
                  <c:v>44582</c:v>
                </c:pt>
                <c:pt idx="4">
                  <c:v>44589</c:v>
                </c:pt>
                <c:pt idx="5">
                  <c:v>44596</c:v>
                </c:pt>
                <c:pt idx="6">
                  <c:v>44603</c:v>
                </c:pt>
                <c:pt idx="7">
                  <c:v>44610</c:v>
                </c:pt>
                <c:pt idx="8">
                  <c:v>44617</c:v>
                </c:pt>
                <c:pt idx="9">
                  <c:v>44624</c:v>
                </c:pt>
                <c:pt idx="10">
                  <c:v>44631</c:v>
                </c:pt>
                <c:pt idx="11">
                  <c:v>44638</c:v>
                </c:pt>
                <c:pt idx="12">
                  <c:v>44645</c:v>
                </c:pt>
                <c:pt idx="13">
                  <c:v>44652</c:v>
                </c:pt>
                <c:pt idx="14">
                  <c:v>44659</c:v>
                </c:pt>
                <c:pt idx="15">
                  <c:v>44666</c:v>
                </c:pt>
                <c:pt idx="16">
                  <c:v>44673</c:v>
                </c:pt>
                <c:pt idx="17">
                  <c:v>44680</c:v>
                </c:pt>
                <c:pt idx="18">
                  <c:v>44687</c:v>
                </c:pt>
                <c:pt idx="19">
                  <c:v>44694</c:v>
                </c:pt>
                <c:pt idx="20">
                  <c:v>44701</c:v>
                </c:pt>
                <c:pt idx="21">
                  <c:v>44708</c:v>
                </c:pt>
                <c:pt idx="22">
                  <c:v>44715</c:v>
                </c:pt>
                <c:pt idx="23">
                  <c:v>44722</c:v>
                </c:pt>
                <c:pt idx="24">
                  <c:v>44729</c:v>
                </c:pt>
                <c:pt idx="25">
                  <c:v>44736</c:v>
                </c:pt>
                <c:pt idx="26">
                  <c:v>44743</c:v>
                </c:pt>
                <c:pt idx="27">
                  <c:v>44750</c:v>
                </c:pt>
                <c:pt idx="28">
                  <c:v>44757</c:v>
                </c:pt>
                <c:pt idx="29">
                  <c:v>44764</c:v>
                </c:pt>
                <c:pt idx="30">
                  <c:v>44771</c:v>
                </c:pt>
                <c:pt idx="31">
                  <c:v>44778</c:v>
                </c:pt>
                <c:pt idx="32">
                  <c:v>44785</c:v>
                </c:pt>
                <c:pt idx="33">
                  <c:v>44792</c:v>
                </c:pt>
                <c:pt idx="34">
                  <c:v>44799</c:v>
                </c:pt>
                <c:pt idx="35">
                  <c:v>44806</c:v>
                </c:pt>
                <c:pt idx="36">
                  <c:v>44813</c:v>
                </c:pt>
                <c:pt idx="37">
                  <c:v>44820</c:v>
                </c:pt>
                <c:pt idx="38">
                  <c:v>44827</c:v>
                </c:pt>
                <c:pt idx="39">
                  <c:v>44834</c:v>
                </c:pt>
                <c:pt idx="40">
                  <c:v>44841</c:v>
                </c:pt>
                <c:pt idx="41">
                  <c:v>44848</c:v>
                </c:pt>
                <c:pt idx="42">
                  <c:v>44855</c:v>
                </c:pt>
                <c:pt idx="43">
                  <c:v>44862</c:v>
                </c:pt>
                <c:pt idx="44">
                  <c:v>44869</c:v>
                </c:pt>
                <c:pt idx="45">
                  <c:v>44876</c:v>
                </c:pt>
                <c:pt idx="46">
                  <c:v>44883</c:v>
                </c:pt>
                <c:pt idx="47">
                  <c:v>44890</c:v>
                </c:pt>
                <c:pt idx="48">
                  <c:v>44897</c:v>
                </c:pt>
                <c:pt idx="49">
                  <c:v>44904</c:v>
                </c:pt>
                <c:pt idx="50">
                  <c:v>44911</c:v>
                </c:pt>
                <c:pt idx="51">
                  <c:v>44918</c:v>
                </c:pt>
                <c:pt idx="52">
                  <c:v>44925</c:v>
                </c:pt>
                <c:pt idx="53">
                  <c:v>44932</c:v>
                </c:pt>
                <c:pt idx="54">
                  <c:v>44939</c:v>
                </c:pt>
                <c:pt idx="55">
                  <c:v>44946</c:v>
                </c:pt>
                <c:pt idx="56">
                  <c:v>44953</c:v>
                </c:pt>
                <c:pt idx="57">
                  <c:v>44960</c:v>
                </c:pt>
                <c:pt idx="58">
                  <c:v>44967</c:v>
                </c:pt>
                <c:pt idx="59">
                  <c:v>44974</c:v>
                </c:pt>
                <c:pt idx="60">
                  <c:v>44981</c:v>
                </c:pt>
                <c:pt idx="61">
                  <c:v>44988</c:v>
                </c:pt>
                <c:pt idx="62">
                  <c:v>44995</c:v>
                </c:pt>
                <c:pt idx="63">
                  <c:v>45002</c:v>
                </c:pt>
                <c:pt idx="64">
                  <c:v>45009</c:v>
                </c:pt>
                <c:pt idx="65">
                  <c:v>45016</c:v>
                </c:pt>
                <c:pt idx="66">
                  <c:v>45023</c:v>
                </c:pt>
                <c:pt idx="67">
                  <c:v>45030</c:v>
                </c:pt>
                <c:pt idx="68">
                  <c:v>45037</c:v>
                </c:pt>
                <c:pt idx="69">
                  <c:v>45044</c:v>
                </c:pt>
                <c:pt idx="70">
                  <c:v>45051</c:v>
                </c:pt>
                <c:pt idx="71">
                  <c:v>45058</c:v>
                </c:pt>
                <c:pt idx="72">
                  <c:v>45065</c:v>
                </c:pt>
                <c:pt idx="73">
                  <c:v>45072</c:v>
                </c:pt>
                <c:pt idx="74">
                  <c:v>45079</c:v>
                </c:pt>
                <c:pt idx="75">
                  <c:v>45086</c:v>
                </c:pt>
                <c:pt idx="76">
                  <c:v>45093</c:v>
                </c:pt>
                <c:pt idx="77">
                  <c:v>45100</c:v>
                </c:pt>
                <c:pt idx="78">
                  <c:v>45107</c:v>
                </c:pt>
                <c:pt idx="79">
                  <c:v>45114</c:v>
                </c:pt>
                <c:pt idx="80">
                  <c:v>45121</c:v>
                </c:pt>
                <c:pt idx="81">
                  <c:v>45128</c:v>
                </c:pt>
                <c:pt idx="82">
                  <c:v>45135</c:v>
                </c:pt>
                <c:pt idx="83">
                  <c:v>45142</c:v>
                </c:pt>
                <c:pt idx="84">
                  <c:v>45149</c:v>
                </c:pt>
                <c:pt idx="85">
                  <c:v>45156</c:v>
                </c:pt>
                <c:pt idx="86">
                  <c:v>45163</c:v>
                </c:pt>
                <c:pt idx="87">
                  <c:v>45170</c:v>
                </c:pt>
                <c:pt idx="88">
                  <c:v>45177</c:v>
                </c:pt>
                <c:pt idx="89">
                  <c:v>45184</c:v>
                </c:pt>
                <c:pt idx="90">
                  <c:v>45191</c:v>
                </c:pt>
                <c:pt idx="91">
                  <c:v>45198</c:v>
                </c:pt>
                <c:pt idx="92">
                  <c:v>45205</c:v>
                </c:pt>
                <c:pt idx="93">
                  <c:v>45212</c:v>
                </c:pt>
                <c:pt idx="94">
                  <c:v>45219</c:v>
                </c:pt>
                <c:pt idx="95">
                  <c:v>45226</c:v>
                </c:pt>
                <c:pt idx="96">
                  <c:v>45233</c:v>
                </c:pt>
                <c:pt idx="97">
                  <c:v>45240</c:v>
                </c:pt>
                <c:pt idx="98">
                  <c:v>45247</c:v>
                </c:pt>
                <c:pt idx="99">
                  <c:v>45254</c:v>
                </c:pt>
                <c:pt idx="100">
                  <c:v>45261</c:v>
                </c:pt>
                <c:pt idx="101">
                  <c:v>45268</c:v>
                </c:pt>
                <c:pt idx="102">
                  <c:v>45275</c:v>
                </c:pt>
                <c:pt idx="103">
                  <c:v>45282</c:v>
                </c:pt>
                <c:pt idx="104">
                  <c:v>45289</c:v>
                </c:pt>
                <c:pt idx="105">
                  <c:v>45296</c:v>
                </c:pt>
                <c:pt idx="106">
                  <c:v>45303</c:v>
                </c:pt>
                <c:pt idx="107">
                  <c:v>45310</c:v>
                </c:pt>
                <c:pt idx="108">
                  <c:v>45317</c:v>
                </c:pt>
                <c:pt idx="109">
                  <c:v>45324</c:v>
                </c:pt>
                <c:pt idx="110">
                  <c:v>45331</c:v>
                </c:pt>
                <c:pt idx="111">
                  <c:v>45338</c:v>
                </c:pt>
                <c:pt idx="112">
                  <c:v>45345</c:v>
                </c:pt>
                <c:pt idx="113">
                  <c:v>45352</c:v>
                </c:pt>
                <c:pt idx="114">
                  <c:v>45359</c:v>
                </c:pt>
                <c:pt idx="115">
                  <c:v>45366</c:v>
                </c:pt>
                <c:pt idx="116">
                  <c:v>45373</c:v>
                </c:pt>
                <c:pt idx="117">
                  <c:v>45380</c:v>
                </c:pt>
                <c:pt idx="118">
                  <c:v>45387</c:v>
                </c:pt>
                <c:pt idx="119">
                  <c:v>45394</c:v>
                </c:pt>
                <c:pt idx="120">
                  <c:v>45401</c:v>
                </c:pt>
                <c:pt idx="121">
                  <c:v>45408</c:v>
                </c:pt>
                <c:pt idx="122">
                  <c:v>45415</c:v>
                </c:pt>
                <c:pt idx="123">
                  <c:v>45422</c:v>
                </c:pt>
                <c:pt idx="124">
                  <c:v>45429</c:v>
                </c:pt>
                <c:pt idx="125">
                  <c:v>45436</c:v>
                </c:pt>
                <c:pt idx="126">
                  <c:v>45443</c:v>
                </c:pt>
                <c:pt idx="127">
                  <c:v>45450</c:v>
                </c:pt>
                <c:pt idx="128">
                  <c:v>45457</c:v>
                </c:pt>
                <c:pt idx="129">
                  <c:v>45464</c:v>
                </c:pt>
                <c:pt idx="130">
                  <c:v>45471</c:v>
                </c:pt>
                <c:pt idx="131">
                  <c:v>45478</c:v>
                </c:pt>
                <c:pt idx="132">
                  <c:v>45485</c:v>
                </c:pt>
                <c:pt idx="133">
                  <c:v>45492</c:v>
                </c:pt>
                <c:pt idx="134">
                  <c:v>45499</c:v>
                </c:pt>
                <c:pt idx="135">
                  <c:v>45506</c:v>
                </c:pt>
                <c:pt idx="136">
                  <c:v>45513</c:v>
                </c:pt>
                <c:pt idx="137">
                  <c:v>45520</c:v>
                </c:pt>
                <c:pt idx="138">
                  <c:v>45527</c:v>
                </c:pt>
                <c:pt idx="139">
                  <c:v>45534</c:v>
                </c:pt>
                <c:pt idx="140">
                  <c:v>45541</c:v>
                </c:pt>
                <c:pt idx="141">
                  <c:v>45548</c:v>
                </c:pt>
                <c:pt idx="142">
                  <c:v>45555</c:v>
                </c:pt>
                <c:pt idx="143">
                  <c:v>45562</c:v>
                </c:pt>
                <c:pt idx="144">
                  <c:v>45569</c:v>
                </c:pt>
                <c:pt idx="145">
                  <c:v>45576</c:v>
                </c:pt>
                <c:pt idx="146">
                  <c:v>45583</c:v>
                </c:pt>
                <c:pt idx="147">
                  <c:v>45590</c:v>
                </c:pt>
                <c:pt idx="148">
                  <c:v>45597</c:v>
                </c:pt>
                <c:pt idx="149">
                  <c:v>45604</c:v>
                </c:pt>
                <c:pt idx="150">
                  <c:v>45611</c:v>
                </c:pt>
                <c:pt idx="151">
                  <c:v>45618</c:v>
                </c:pt>
                <c:pt idx="152">
                  <c:v>45625</c:v>
                </c:pt>
                <c:pt idx="153">
                  <c:v>45632</c:v>
                </c:pt>
                <c:pt idx="154">
                  <c:v>45639</c:v>
                </c:pt>
                <c:pt idx="155">
                  <c:v>45646</c:v>
                </c:pt>
                <c:pt idx="156">
                  <c:v>45653</c:v>
                </c:pt>
                <c:pt idx="157">
                  <c:v>45660</c:v>
                </c:pt>
                <c:pt idx="158">
                  <c:v>45667</c:v>
                </c:pt>
                <c:pt idx="159">
                  <c:v>45674</c:v>
                </c:pt>
                <c:pt idx="160">
                  <c:v>45681</c:v>
                </c:pt>
                <c:pt idx="161">
                  <c:v>45688</c:v>
                </c:pt>
                <c:pt idx="162">
                  <c:v>45695</c:v>
                </c:pt>
                <c:pt idx="163">
                  <c:v>45702</c:v>
                </c:pt>
                <c:pt idx="164">
                  <c:v>45709</c:v>
                </c:pt>
                <c:pt idx="165">
                  <c:v>45716</c:v>
                </c:pt>
                <c:pt idx="166">
                  <c:v>45723</c:v>
                </c:pt>
                <c:pt idx="167">
                  <c:v>45730</c:v>
                </c:pt>
                <c:pt idx="168">
                  <c:v>45737</c:v>
                </c:pt>
                <c:pt idx="169">
                  <c:v>45744</c:v>
                </c:pt>
                <c:pt idx="170">
                  <c:v>45751</c:v>
                </c:pt>
                <c:pt idx="171">
                  <c:v>45758</c:v>
                </c:pt>
                <c:pt idx="172">
                  <c:v>45765</c:v>
                </c:pt>
                <c:pt idx="173">
                  <c:v>45772</c:v>
                </c:pt>
                <c:pt idx="174">
                  <c:v>45779</c:v>
                </c:pt>
                <c:pt idx="175">
                  <c:v>45786</c:v>
                </c:pt>
                <c:pt idx="176">
                  <c:v>45793</c:v>
                </c:pt>
                <c:pt idx="177">
                  <c:v>45800</c:v>
                </c:pt>
                <c:pt idx="178">
                  <c:v>45807</c:v>
                </c:pt>
                <c:pt idx="179">
                  <c:v>45814</c:v>
                </c:pt>
                <c:pt idx="180">
                  <c:v>45821</c:v>
                </c:pt>
                <c:pt idx="181">
                  <c:v>45828</c:v>
                </c:pt>
                <c:pt idx="182">
                  <c:v>45835</c:v>
                </c:pt>
                <c:pt idx="183">
                  <c:v>45842</c:v>
                </c:pt>
                <c:pt idx="184">
                  <c:v>45849</c:v>
                </c:pt>
                <c:pt idx="185">
                  <c:v>45856</c:v>
                </c:pt>
                <c:pt idx="186">
                  <c:v>45863</c:v>
                </c:pt>
                <c:pt idx="187">
                  <c:v>45870</c:v>
                </c:pt>
                <c:pt idx="188">
                  <c:v>45877</c:v>
                </c:pt>
                <c:pt idx="189">
                  <c:v>45884</c:v>
                </c:pt>
                <c:pt idx="190">
                  <c:v>45891</c:v>
                </c:pt>
                <c:pt idx="191">
                  <c:v>45898</c:v>
                </c:pt>
                <c:pt idx="192">
                  <c:v>45905</c:v>
                </c:pt>
                <c:pt idx="193">
                  <c:v>45912</c:v>
                </c:pt>
                <c:pt idx="194">
                  <c:v>45919</c:v>
                </c:pt>
                <c:pt idx="195">
                  <c:v>45926</c:v>
                </c:pt>
                <c:pt idx="196">
                  <c:v>45933</c:v>
                </c:pt>
                <c:pt idx="197">
                  <c:v>45940</c:v>
                </c:pt>
                <c:pt idx="198">
                  <c:v>45947</c:v>
                </c:pt>
                <c:pt idx="199">
                  <c:v>45954</c:v>
                </c:pt>
                <c:pt idx="200">
                  <c:v>45961</c:v>
                </c:pt>
                <c:pt idx="201">
                  <c:v>45968</c:v>
                </c:pt>
                <c:pt idx="202">
                  <c:v>45975</c:v>
                </c:pt>
              </c:numCache>
            </c:numRef>
          </c:cat>
          <c:val>
            <c:numRef>
              <c:f>'指数合成-1.0'!$DJ$165:$DJ$369</c:f>
              <c:numCache>
                <c:formatCode>0.0</c:formatCode>
                <c:ptCount val="205"/>
                <c:pt idx="0">
                  <c:v>26.704398843903192</c:v>
                </c:pt>
                <c:pt idx="1">
                  <c:v>23.754754022999691</c:v>
                </c:pt>
                <c:pt idx="2">
                  <c:v>18.976104902249233</c:v>
                </c:pt>
                <c:pt idx="3">
                  <c:v>14.215137088301333</c:v>
                </c:pt>
                <c:pt idx="4">
                  <c:v>9.6281262832400785</c:v>
                </c:pt>
                <c:pt idx="5">
                  <c:v>1.2429737973620831</c:v>
                </c:pt>
                <c:pt idx="6">
                  <c:v>-1.7232603470392434</c:v>
                </c:pt>
                <c:pt idx="7">
                  <c:v>-0.41293840142000704</c:v>
                </c:pt>
                <c:pt idx="8">
                  <c:v>5.7336421286034778</c:v>
                </c:pt>
                <c:pt idx="9">
                  <c:v>18.755127172287672</c:v>
                </c:pt>
                <c:pt idx="10">
                  <c:v>24.396348592842699</c:v>
                </c:pt>
                <c:pt idx="11">
                  <c:v>22.682045764842201</c:v>
                </c:pt>
                <c:pt idx="12">
                  <c:v>20.579261141730072</c:v>
                </c:pt>
                <c:pt idx="13">
                  <c:v>23.359481079754872</c:v>
                </c:pt>
                <c:pt idx="14">
                  <c:v>17.872323910157746</c:v>
                </c:pt>
                <c:pt idx="15">
                  <c:v>14.800551214963178</c:v>
                </c:pt>
                <c:pt idx="16">
                  <c:v>8.7692079936392986</c:v>
                </c:pt>
                <c:pt idx="17">
                  <c:v>-4.162135161977929</c:v>
                </c:pt>
                <c:pt idx="18">
                  <c:v>-8.0863879890234074</c:v>
                </c:pt>
                <c:pt idx="19">
                  <c:v>-8.3609859366074062</c:v>
                </c:pt>
                <c:pt idx="20">
                  <c:v>-12.868888236574534</c:v>
                </c:pt>
                <c:pt idx="21">
                  <c:v>-14.139507938282435</c:v>
                </c:pt>
                <c:pt idx="22">
                  <c:v>-9.0155767282623884</c:v>
                </c:pt>
                <c:pt idx="23">
                  <c:v>-5.2100551176858687</c:v>
                </c:pt>
                <c:pt idx="24">
                  <c:v>-0.83703029047444488</c:v>
                </c:pt>
                <c:pt idx="25">
                  <c:v>0.92845338352960027</c:v>
                </c:pt>
                <c:pt idx="26">
                  <c:v>-3.9220963637037585</c:v>
                </c:pt>
                <c:pt idx="27">
                  <c:v>-7.2205804775389737</c:v>
                </c:pt>
                <c:pt idx="28">
                  <c:v>-9.317431880946387</c:v>
                </c:pt>
                <c:pt idx="29">
                  <c:v>-7.3868203225678855</c:v>
                </c:pt>
                <c:pt idx="30">
                  <c:v>3.1793413020935901</c:v>
                </c:pt>
                <c:pt idx="31">
                  <c:v>-2.6683957492352306E-2</c:v>
                </c:pt>
                <c:pt idx="32">
                  <c:v>-5.2418293271301053</c:v>
                </c:pt>
                <c:pt idx="33">
                  <c:v>-11.535697021970833</c:v>
                </c:pt>
                <c:pt idx="34">
                  <c:v>-25.108509324229715</c:v>
                </c:pt>
                <c:pt idx="35">
                  <c:v>-26.519178241885015</c:v>
                </c:pt>
                <c:pt idx="36">
                  <c:v>-32.890089461797274</c:v>
                </c:pt>
                <c:pt idx="37">
                  <c:v>-32.759798557678764</c:v>
                </c:pt>
                <c:pt idx="38">
                  <c:v>-29.326654754462965</c:v>
                </c:pt>
                <c:pt idx="39">
                  <c:v>-29.023787967610431</c:v>
                </c:pt>
                <c:pt idx="40">
                  <c:v>-26.578023791462428</c:v>
                </c:pt>
                <c:pt idx="41">
                  <c:v>-34.527215781725374</c:v>
                </c:pt>
                <c:pt idx="42">
                  <c:v>-40.701803432601849</c:v>
                </c:pt>
                <c:pt idx="43">
                  <c:v>-40.259530133436719</c:v>
                </c:pt>
                <c:pt idx="44">
                  <c:v>-37.286205565770523</c:v>
                </c:pt>
                <c:pt idx="45">
                  <c:v>-25.260573570593067</c:v>
                </c:pt>
                <c:pt idx="46">
                  <c:v>-17.934541068072633</c:v>
                </c:pt>
                <c:pt idx="47">
                  <c:v>-16.138731654477695</c:v>
                </c:pt>
                <c:pt idx="48">
                  <c:v>-17.780076035055785</c:v>
                </c:pt>
                <c:pt idx="49">
                  <c:v>-23.050567430965927</c:v>
                </c:pt>
                <c:pt idx="50">
                  <c:v>-21.633714733696834</c:v>
                </c:pt>
                <c:pt idx="51">
                  <c:v>-21.721991832427662</c:v>
                </c:pt>
                <c:pt idx="52">
                  <c:v>-17.056732719009531</c:v>
                </c:pt>
                <c:pt idx="53">
                  <c:v>-12.07934762892117</c:v>
                </c:pt>
                <c:pt idx="54">
                  <c:v>-12.880526697664806</c:v>
                </c:pt>
                <c:pt idx="55">
                  <c:v>-8.1121383320477634</c:v>
                </c:pt>
                <c:pt idx="56">
                  <c:v>-11.916025291884054</c:v>
                </c:pt>
                <c:pt idx="57">
                  <c:v>-21.813213600395116</c:v>
                </c:pt>
                <c:pt idx="58">
                  <c:v>-28.887700125911593</c:v>
                </c:pt>
                <c:pt idx="59">
                  <c:v>-31.65086249665454</c:v>
                </c:pt>
                <c:pt idx="60">
                  <c:v>-28.34193501788809</c:v>
                </c:pt>
                <c:pt idx="61">
                  <c:v>-18.761884786617827</c:v>
                </c:pt>
                <c:pt idx="62">
                  <c:v>-14.060057826793809</c:v>
                </c:pt>
                <c:pt idx="63">
                  <c:v>-12.127078878116492</c:v>
                </c:pt>
                <c:pt idx="64">
                  <c:v>-15.612200025449226</c:v>
                </c:pt>
                <c:pt idx="65">
                  <c:v>-15.93694854375515</c:v>
                </c:pt>
                <c:pt idx="66">
                  <c:v>-13.943114100501546</c:v>
                </c:pt>
                <c:pt idx="67">
                  <c:v>-9.6186592354316787</c:v>
                </c:pt>
                <c:pt idx="68">
                  <c:v>-4.4610218996985651</c:v>
                </c:pt>
                <c:pt idx="69">
                  <c:v>1.5926532894779371</c:v>
                </c:pt>
                <c:pt idx="70">
                  <c:v>2.2202073227851855</c:v>
                </c:pt>
                <c:pt idx="71">
                  <c:v>-3.1393524406944806</c:v>
                </c:pt>
                <c:pt idx="72">
                  <c:v>0.85292015110964314</c:v>
                </c:pt>
                <c:pt idx="73">
                  <c:v>4.6910973344793661E-2</c:v>
                </c:pt>
                <c:pt idx="74">
                  <c:v>-1.7116794222810938</c:v>
                </c:pt>
                <c:pt idx="75">
                  <c:v>-2.0248216495055544</c:v>
                </c:pt>
                <c:pt idx="76">
                  <c:v>-4.9894654441372381</c:v>
                </c:pt>
                <c:pt idx="77">
                  <c:v>-9.8624240809268713</c:v>
                </c:pt>
                <c:pt idx="78">
                  <c:v>-8.4656505210870421</c:v>
                </c:pt>
                <c:pt idx="79">
                  <c:v>-10.50472925949704</c:v>
                </c:pt>
                <c:pt idx="80">
                  <c:v>-10.513045826577425</c:v>
                </c:pt>
                <c:pt idx="81">
                  <c:v>-11.633952615624366</c:v>
                </c:pt>
                <c:pt idx="82">
                  <c:v>-14.880721198094477</c:v>
                </c:pt>
                <c:pt idx="83">
                  <c:v>-18.180434004529999</c:v>
                </c:pt>
                <c:pt idx="84">
                  <c:v>-14.540275627997403</c:v>
                </c:pt>
                <c:pt idx="85">
                  <c:v>-11.064710278834696</c:v>
                </c:pt>
                <c:pt idx="86">
                  <c:v>-2.1340952225423848</c:v>
                </c:pt>
                <c:pt idx="87">
                  <c:v>5.508791140760593</c:v>
                </c:pt>
                <c:pt idx="88">
                  <c:v>13.532547300663239</c:v>
                </c:pt>
                <c:pt idx="89">
                  <c:v>23.106374020847269</c:v>
                </c:pt>
                <c:pt idx="90">
                  <c:v>16.344336555702469</c:v>
                </c:pt>
                <c:pt idx="91">
                  <c:v>14.499879938432471</c:v>
                </c:pt>
                <c:pt idx="92">
                  <c:v>3.0594826708537681</c:v>
                </c:pt>
                <c:pt idx="93">
                  <c:v>-1.6555473967881653</c:v>
                </c:pt>
                <c:pt idx="94">
                  <c:v>8.738486334294393</c:v>
                </c:pt>
                <c:pt idx="95">
                  <c:v>12.325689537414135</c:v>
                </c:pt>
                <c:pt idx="96">
                  <c:v>20.883391376941134</c:v>
                </c:pt>
                <c:pt idx="97">
                  <c:v>20.953650065911191</c:v>
                </c:pt>
                <c:pt idx="98">
                  <c:v>13.876721919994608</c:v>
                </c:pt>
                <c:pt idx="99">
                  <c:v>16.73718134472422</c:v>
                </c:pt>
                <c:pt idx="100">
                  <c:v>25.013607484633056</c:v>
                </c:pt>
                <c:pt idx="101">
                  <c:v>33.684052363786236</c:v>
                </c:pt>
                <c:pt idx="102">
                  <c:v>36.003401861150792</c:v>
                </c:pt>
                <c:pt idx="103">
                  <c:v>36.183105008008226</c:v>
                </c:pt>
                <c:pt idx="104">
                  <c:v>29.238171877826403</c:v>
                </c:pt>
                <c:pt idx="105">
                  <c:v>24.840977409166371</c:v>
                </c:pt>
                <c:pt idx="106">
                  <c:v>29.291107980466592</c:v>
                </c:pt>
                <c:pt idx="107">
                  <c:v>29.890988945078561</c:v>
                </c:pt>
                <c:pt idx="108">
                  <c:v>33.760220273116062</c:v>
                </c:pt>
                <c:pt idx="109">
                  <c:v>50.57606938567497</c:v>
                </c:pt>
                <c:pt idx="110">
                  <c:v>69.557929986511652</c:v>
                </c:pt>
                <c:pt idx="111">
                  <c:v>63.678854697068772</c:v>
                </c:pt>
                <c:pt idx="112">
                  <c:v>41.744419236710684</c:v>
                </c:pt>
                <c:pt idx="113">
                  <c:v>17.100378252300885</c:v>
                </c:pt>
                <c:pt idx="114">
                  <c:v>0.27761868272540369</c:v>
                </c:pt>
                <c:pt idx="115">
                  <c:v>2.7974679648728795</c:v>
                </c:pt>
                <c:pt idx="116">
                  <c:v>12.710157280813931</c:v>
                </c:pt>
                <c:pt idx="117">
                  <c:v>12.736609936515237</c:v>
                </c:pt>
                <c:pt idx="118">
                  <c:v>13.868136861843496</c:v>
                </c:pt>
                <c:pt idx="119">
                  <c:v>13.262530958175219</c:v>
                </c:pt>
                <c:pt idx="120">
                  <c:v>7.3615254193178714</c:v>
                </c:pt>
                <c:pt idx="121">
                  <c:v>8.6391037233578487</c:v>
                </c:pt>
                <c:pt idx="122">
                  <c:v>9.4409866781416412</c:v>
                </c:pt>
                <c:pt idx="123">
                  <c:v>16.06418676018761</c:v>
                </c:pt>
                <c:pt idx="124">
                  <c:v>19.158544147777249</c:v>
                </c:pt>
                <c:pt idx="125">
                  <c:v>19.168468916475035</c:v>
                </c:pt>
                <c:pt idx="126">
                  <c:v>20.380113897233159</c:v>
                </c:pt>
                <c:pt idx="127">
                  <c:v>17.086471479769202</c:v>
                </c:pt>
                <c:pt idx="128">
                  <c:v>16.954005032408318</c:v>
                </c:pt>
                <c:pt idx="129">
                  <c:v>23.407905171127481</c:v>
                </c:pt>
                <c:pt idx="130">
                  <c:v>25.040828753735255</c:v>
                </c:pt>
                <c:pt idx="131">
                  <c:v>29.07480351235813</c:v>
                </c:pt>
                <c:pt idx="132">
                  <c:v>32.974335314705314</c:v>
                </c:pt>
                <c:pt idx="133">
                  <c:v>32.847364595786786</c:v>
                </c:pt>
                <c:pt idx="134">
                  <c:v>31.855871727848807</c:v>
                </c:pt>
                <c:pt idx="135">
                  <c:v>40.520832109932996</c:v>
                </c:pt>
                <c:pt idx="136">
                  <c:v>39.569018710532475</c:v>
                </c:pt>
                <c:pt idx="137">
                  <c:v>39.205930532121585</c:v>
                </c:pt>
                <c:pt idx="138">
                  <c:v>36.219526292366965</c:v>
                </c:pt>
                <c:pt idx="139">
                  <c:v>27.485457112103745</c:v>
                </c:pt>
                <c:pt idx="140">
                  <c:v>28.261746244889451</c:v>
                </c:pt>
                <c:pt idx="141">
                  <c:v>24.218317572858666</c:v>
                </c:pt>
                <c:pt idx="142">
                  <c:v>16.936208043495782</c:v>
                </c:pt>
                <c:pt idx="143">
                  <c:v>13.653223878458547</c:v>
                </c:pt>
                <c:pt idx="144">
                  <c:v>16.42800875392858</c:v>
                </c:pt>
                <c:pt idx="145">
                  <c:v>25.97798836457666</c:v>
                </c:pt>
                <c:pt idx="146">
                  <c:v>30.502600590867814</c:v>
                </c:pt>
                <c:pt idx="147">
                  <c:v>27.953861395873346</c:v>
                </c:pt>
                <c:pt idx="148">
                  <c:v>14.704971355536387</c:v>
                </c:pt>
                <c:pt idx="149">
                  <c:v>0.67322528928337988</c:v>
                </c:pt>
                <c:pt idx="150">
                  <c:v>3.1723549433650788</c:v>
                </c:pt>
                <c:pt idx="151">
                  <c:v>1.558618820001783</c:v>
                </c:pt>
                <c:pt idx="152">
                  <c:v>-0.58340623943226433</c:v>
                </c:pt>
                <c:pt idx="153">
                  <c:v>-2.3893172537027283</c:v>
                </c:pt>
                <c:pt idx="154">
                  <c:v>-4.2134650835590719</c:v>
                </c:pt>
                <c:pt idx="155">
                  <c:v>-2.0467395575030736</c:v>
                </c:pt>
                <c:pt idx="156">
                  <c:v>1.5010153229720657</c:v>
                </c:pt>
                <c:pt idx="157">
                  <c:v>1.9203674117634506</c:v>
                </c:pt>
                <c:pt idx="158">
                  <c:v>-2.0749484482454363</c:v>
                </c:pt>
                <c:pt idx="159">
                  <c:v>-5.2653925846287848</c:v>
                </c:pt>
                <c:pt idx="160">
                  <c:v>-3.5877122797342196</c:v>
                </c:pt>
                <c:pt idx="161">
                  <c:v>1.123462818715808</c:v>
                </c:pt>
                <c:pt idx="162">
                  <c:v>-2.4316880034874089E-2</c:v>
                </c:pt>
                <c:pt idx="163">
                  <c:v>-1.5174384488352928</c:v>
                </c:pt>
                <c:pt idx="164">
                  <c:v>3.8209332838541741</c:v>
                </c:pt>
                <c:pt idx="165">
                  <c:v>3.4061731452280384</c:v>
                </c:pt>
                <c:pt idx="166">
                  <c:v>13.921476332100653</c:v>
                </c:pt>
                <c:pt idx="167">
                  <c:v>14.37951128268287</c:v>
                </c:pt>
                <c:pt idx="168">
                  <c:v>6.9455119811945707</c:v>
                </c:pt>
                <c:pt idx="169">
                  <c:v>8.0750675465797173</c:v>
                </c:pt>
                <c:pt idx="170">
                  <c:v>7.2101720624360865</c:v>
                </c:pt>
                <c:pt idx="171">
                  <c:v>7.9916696220050625</c:v>
                </c:pt>
                <c:pt idx="172">
                  <c:v>9.1170568384181934</c:v>
                </c:pt>
                <c:pt idx="173">
                  <c:v>5.0923056936596112</c:v>
                </c:pt>
                <c:pt idx="174">
                  <c:v>5.2127816107316818</c:v>
                </c:pt>
                <c:pt idx="175">
                  <c:v>1.6969069142067639</c:v>
                </c:pt>
                <c:pt idx="176">
                  <c:v>-0.97447358203559986</c:v>
                </c:pt>
                <c:pt idx="177">
                  <c:v>0.25650945015101456</c:v>
                </c:pt>
                <c:pt idx="178">
                  <c:v>-2.5432913574728246</c:v>
                </c:pt>
                <c:pt idx="179">
                  <c:v>-2.3634279095348916</c:v>
                </c:pt>
                <c:pt idx="180">
                  <c:v>0.770057782868804</c:v>
                </c:pt>
                <c:pt idx="181">
                  <c:v>2.7153281610787161</c:v>
                </c:pt>
                <c:pt idx="182">
                  <c:v>4.7991381401333228</c:v>
                </c:pt>
                <c:pt idx="183">
                  <c:v>7.3276670260151064</c:v>
                </c:pt>
                <c:pt idx="184">
                  <c:v>5.0094779226460986</c:v>
                </c:pt>
                <c:pt idx="185">
                  <c:v>3.8035157625967884</c:v>
                </c:pt>
                <c:pt idx="186">
                  <c:v>4.6066712501186231</c:v>
                </c:pt>
                <c:pt idx="187">
                  <c:v>2.9739215074843486</c:v>
                </c:pt>
                <c:pt idx="188">
                  <c:v>3.3356465271485263</c:v>
                </c:pt>
                <c:pt idx="189">
                  <c:v>3.4372569747215493</c:v>
                </c:pt>
                <c:pt idx="190">
                  <c:v>2.3691452250184568</c:v>
                </c:pt>
                <c:pt idx="191">
                  <c:v>4.3777312059093845</c:v>
                </c:pt>
                <c:pt idx="192">
                  <c:v>4.8857860884576212</c:v>
                </c:pt>
                <c:pt idx="193">
                  <c:v>4.1609745121015749</c:v>
                </c:pt>
                <c:pt idx="194">
                  <c:v>11.528807558619974</c:v>
                </c:pt>
                <c:pt idx="195">
                  <c:v>13.090548873259308</c:v>
                </c:pt>
                <c:pt idx="196">
                  <c:v>13.919796868326742</c:v>
                </c:pt>
                <c:pt idx="197">
                  <c:v>12.488726629649946</c:v>
                </c:pt>
                <c:pt idx="198">
                  <c:v>3.5603506028272704</c:v>
                </c:pt>
                <c:pt idx="199">
                  <c:v>-3.4653282297661576</c:v>
                </c:pt>
                <c:pt idx="200">
                  <c:v>1.0876417308662241</c:v>
                </c:pt>
                <c:pt idx="201">
                  <c:v>8.34468983991394</c:v>
                </c:pt>
                <c:pt idx="202">
                  <c:v>7.041264981130197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B431-4766-AB30-7EB3CB2E83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4968175"/>
        <c:axId val="314967855"/>
        <c:extLst>
          <c:ext xmlns:c15="http://schemas.microsoft.com/office/drawing/2012/chart" uri="{02D57815-91ED-43cb-92C2-25804820EDAC}">
            <c15:filteredLineSeries>
              <c15:ser>
                <c:idx val="2"/>
                <c:order val="1"/>
                <c:tx>
                  <c:strRef>
                    <c:extLst>
                      <c:ext uri="{02D57815-91ED-43cb-92C2-25804820EDAC}">
                        <c15:formulaRef>
                          <c15:sqref>'指数合成-1.0'!$DE$8</c15:sqref>
                        </c15:formulaRef>
                      </c:ext>
                    </c:extLst>
                    <c:strCache>
                      <c:ptCount val="1"/>
                      <c:pt idx="0">
                        <c:v>居民收入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指数合成-1.0'!$DC$165:$DC$369</c15:sqref>
                        </c15:formulaRef>
                      </c:ext>
                    </c:extLst>
                    <c:numCache>
                      <c:formatCode>yyyy\-mm\-dd</c:formatCode>
                      <c:ptCount val="205"/>
                      <c:pt idx="0">
                        <c:v>44561</c:v>
                      </c:pt>
                      <c:pt idx="1">
                        <c:v>44568</c:v>
                      </c:pt>
                      <c:pt idx="2">
                        <c:v>44575</c:v>
                      </c:pt>
                      <c:pt idx="3">
                        <c:v>44582</c:v>
                      </c:pt>
                      <c:pt idx="4">
                        <c:v>44589</c:v>
                      </c:pt>
                      <c:pt idx="5">
                        <c:v>44596</c:v>
                      </c:pt>
                      <c:pt idx="6">
                        <c:v>44603</c:v>
                      </c:pt>
                      <c:pt idx="7">
                        <c:v>44610</c:v>
                      </c:pt>
                      <c:pt idx="8">
                        <c:v>44617</c:v>
                      </c:pt>
                      <c:pt idx="9">
                        <c:v>44624</c:v>
                      </c:pt>
                      <c:pt idx="10">
                        <c:v>44631</c:v>
                      </c:pt>
                      <c:pt idx="11">
                        <c:v>44638</c:v>
                      </c:pt>
                      <c:pt idx="12">
                        <c:v>44645</c:v>
                      </c:pt>
                      <c:pt idx="13">
                        <c:v>44652</c:v>
                      </c:pt>
                      <c:pt idx="14">
                        <c:v>44659</c:v>
                      </c:pt>
                      <c:pt idx="15">
                        <c:v>44666</c:v>
                      </c:pt>
                      <c:pt idx="16">
                        <c:v>44673</c:v>
                      </c:pt>
                      <c:pt idx="17">
                        <c:v>44680</c:v>
                      </c:pt>
                      <c:pt idx="18">
                        <c:v>44687</c:v>
                      </c:pt>
                      <c:pt idx="19">
                        <c:v>44694</c:v>
                      </c:pt>
                      <c:pt idx="20">
                        <c:v>44701</c:v>
                      </c:pt>
                      <c:pt idx="21">
                        <c:v>44708</c:v>
                      </c:pt>
                      <c:pt idx="22">
                        <c:v>44715</c:v>
                      </c:pt>
                      <c:pt idx="23">
                        <c:v>44722</c:v>
                      </c:pt>
                      <c:pt idx="24">
                        <c:v>44729</c:v>
                      </c:pt>
                      <c:pt idx="25">
                        <c:v>44736</c:v>
                      </c:pt>
                      <c:pt idx="26">
                        <c:v>44743</c:v>
                      </c:pt>
                      <c:pt idx="27">
                        <c:v>44750</c:v>
                      </c:pt>
                      <c:pt idx="28">
                        <c:v>44757</c:v>
                      </c:pt>
                      <c:pt idx="29">
                        <c:v>44764</c:v>
                      </c:pt>
                      <c:pt idx="30">
                        <c:v>44771</c:v>
                      </c:pt>
                      <c:pt idx="31">
                        <c:v>44778</c:v>
                      </c:pt>
                      <c:pt idx="32">
                        <c:v>44785</c:v>
                      </c:pt>
                      <c:pt idx="33">
                        <c:v>44792</c:v>
                      </c:pt>
                      <c:pt idx="34">
                        <c:v>44799</c:v>
                      </c:pt>
                      <c:pt idx="35">
                        <c:v>44806</c:v>
                      </c:pt>
                      <c:pt idx="36">
                        <c:v>44813</c:v>
                      </c:pt>
                      <c:pt idx="37">
                        <c:v>44820</c:v>
                      </c:pt>
                      <c:pt idx="38">
                        <c:v>44827</c:v>
                      </c:pt>
                      <c:pt idx="39">
                        <c:v>44834</c:v>
                      </c:pt>
                      <c:pt idx="40">
                        <c:v>44841</c:v>
                      </c:pt>
                      <c:pt idx="41">
                        <c:v>44848</c:v>
                      </c:pt>
                      <c:pt idx="42">
                        <c:v>44855</c:v>
                      </c:pt>
                      <c:pt idx="43">
                        <c:v>44862</c:v>
                      </c:pt>
                      <c:pt idx="44">
                        <c:v>44869</c:v>
                      </c:pt>
                      <c:pt idx="45">
                        <c:v>44876</c:v>
                      </c:pt>
                      <c:pt idx="46">
                        <c:v>44883</c:v>
                      </c:pt>
                      <c:pt idx="47">
                        <c:v>44890</c:v>
                      </c:pt>
                      <c:pt idx="48">
                        <c:v>44897</c:v>
                      </c:pt>
                      <c:pt idx="49">
                        <c:v>44904</c:v>
                      </c:pt>
                      <c:pt idx="50">
                        <c:v>44911</c:v>
                      </c:pt>
                      <c:pt idx="51">
                        <c:v>44918</c:v>
                      </c:pt>
                      <c:pt idx="52">
                        <c:v>44925</c:v>
                      </c:pt>
                      <c:pt idx="53">
                        <c:v>44932</c:v>
                      </c:pt>
                      <c:pt idx="54">
                        <c:v>44939</c:v>
                      </c:pt>
                      <c:pt idx="55">
                        <c:v>44946</c:v>
                      </c:pt>
                      <c:pt idx="56">
                        <c:v>44953</c:v>
                      </c:pt>
                      <c:pt idx="57">
                        <c:v>44960</c:v>
                      </c:pt>
                      <c:pt idx="58">
                        <c:v>44967</c:v>
                      </c:pt>
                      <c:pt idx="59">
                        <c:v>44974</c:v>
                      </c:pt>
                      <c:pt idx="60">
                        <c:v>44981</c:v>
                      </c:pt>
                      <c:pt idx="61">
                        <c:v>44988</c:v>
                      </c:pt>
                      <c:pt idx="62">
                        <c:v>44995</c:v>
                      </c:pt>
                      <c:pt idx="63">
                        <c:v>45002</c:v>
                      </c:pt>
                      <c:pt idx="64">
                        <c:v>45009</c:v>
                      </c:pt>
                      <c:pt idx="65">
                        <c:v>45016</c:v>
                      </c:pt>
                      <c:pt idx="66">
                        <c:v>45023</c:v>
                      </c:pt>
                      <c:pt idx="67">
                        <c:v>45030</c:v>
                      </c:pt>
                      <c:pt idx="68">
                        <c:v>45037</c:v>
                      </c:pt>
                      <c:pt idx="69">
                        <c:v>45044</c:v>
                      </c:pt>
                      <c:pt idx="70">
                        <c:v>45051</c:v>
                      </c:pt>
                      <c:pt idx="71">
                        <c:v>45058</c:v>
                      </c:pt>
                      <c:pt idx="72">
                        <c:v>45065</c:v>
                      </c:pt>
                      <c:pt idx="73">
                        <c:v>45072</c:v>
                      </c:pt>
                      <c:pt idx="74">
                        <c:v>45079</c:v>
                      </c:pt>
                      <c:pt idx="75">
                        <c:v>45086</c:v>
                      </c:pt>
                      <c:pt idx="76">
                        <c:v>45093</c:v>
                      </c:pt>
                      <c:pt idx="77">
                        <c:v>45100</c:v>
                      </c:pt>
                      <c:pt idx="78">
                        <c:v>45107</c:v>
                      </c:pt>
                      <c:pt idx="79">
                        <c:v>45114</c:v>
                      </c:pt>
                      <c:pt idx="80">
                        <c:v>45121</c:v>
                      </c:pt>
                      <c:pt idx="81">
                        <c:v>45128</c:v>
                      </c:pt>
                      <c:pt idx="82">
                        <c:v>45135</c:v>
                      </c:pt>
                      <c:pt idx="83">
                        <c:v>45142</c:v>
                      </c:pt>
                      <c:pt idx="84">
                        <c:v>45149</c:v>
                      </c:pt>
                      <c:pt idx="85">
                        <c:v>45156</c:v>
                      </c:pt>
                      <c:pt idx="86">
                        <c:v>45163</c:v>
                      </c:pt>
                      <c:pt idx="87">
                        <c:v>45170</c:v>
                      </c:pt>
                      <c:pt idx="88">
                        <c:v>45177</c:v>
                      </c:pt>
                      <c:pt idx="89">
                        <c:v>45184</c:v>
                      </c:pt>
                      <c:pt idx="90">
                        <c:v>45191</c:v>
                      </c:pt>
                      <c:pt idx="91">
                        <c:v>45198</c:v>
                      </c:pt>
                      <c:pt idx="92">
                        <c:v>45205</c:v>
                      </c:pt>
                      <c:pt idx="93">
                        <c:v>45212</c:v>
                      </c:pt>
                      <c:pt idx="94">
                        <c:v>45219</c:v>
                      </c:pt>
                      <c:pt idx="95">
                        <c:v>45226</c:v>
                      </c:pt>
                      <c:pt idx="96">
                        <c:v>45233</c:v>
                      </c:pt>
                      <c:pt idx="97">
                        <c:v>45240</c:v>
                      </c:pt>
                      <c:pt idx="98">
                        <c:v>45247</c:v>
                      </c:pt>
                      <c:pt idx="99">
                        <c:v>45254</c:v>
                      </c:pt>
                      <c:pt idx="100">
                        <c:v>45261</c:v>
                      </c:pt>
                      <c:pt idx="101">
                        <c:v>45268</c:v>
                      </c:pt>
                      <c:pt idx="102">
                        <c:v>45275</c:v>
                      </c:pt>
                      <c:pt idx="103">
                        <c:v>45282</c:v>
                      </c:pt>
                      <c:pt idx="104">
                        <c:v>45289</c:v>
                      </c:pt>
                      <c:pt idx="105">
                        <c:v>45296</c:v>
                      </c:pt>
                      <c:pt idx="106">
                        <c:v>45303</c:v>
                      </c:pt>
                      <c:pt idx="107">
                        <c:v>45310</c:v>
                      </c:pt>
                      <c:pt idx="108">
                        <c:v>45317</c:v>
                      </c:pt>
                      <c:pt idx="109">
                        <c:v>45324</c:v>
                      </c:pt>
                      <c:pt idx="110">
                        <c:v>45331</c:v>
                      </c:pt>
                      <c:pt idx="111">
                        <c:v>45338</c:v>
                      </c:pt>
                      <c:pt idx="112">
                        <c:v>45345</c:v>
                      </c:pt>
                      <c:pt idx="113">
                        <c:v>45352</c:v>
                      </c:pt>
                      <c:pt idx="114">
                        <c:v>45359</c:v>
                      </c:pt>
                      <c:pt idx="115">
                        <c:v>45366</c:v>
                      </c:pt>
                      <c:pt idx="116">
                        <c:v>45373</c:v>
                      </c:pt>
                      <c:pt idx="117">
                        <c:v>45380</c:v>
                      </c:pt>
                      <c:pt idx="118">
                        <c:v>45387</c:v>
                      </c:pt>
                      <c:pt idx="119">
                        <c:v>45394</c:v>
                      </c:pt>
                      <c:pt idx="120">
                        <c:v>45401</c:v>
                      </c:pt>
                      <c:pt idx="121">
                        <c:v>45408</c:v>
                      </c:pt>
                      <c:pt idx="122">
                        <c:v>45415</c:v>
                      </c:pt>
                      <c:pt idx="123">
                        <c:v>45422</c:v>
                      </c:pt>
                      <c:pt idx="124">
                        <c:v>45429</c:v>
                      </c:pt>
                      <c:pt idx="125">
                        <c:v>45436</c:v>
                      </c:pt>
                      <c:pt idx="126">
                        <c:v>45443</c:v>
                      </c:pt>
                      <c:pt idx="127">
                        <c:v>45450</c:v>
                      </c:pt>
                      <c:pt idx="128">
                        <c:v>45457</c:v>
                      </c:pt>
                      <c:pt idx="129">
                        <c:v>45464</c:v>
                      </c:pt>
                      <c:pt idx="130">
                        <c:v>45471</c:v>
                      </c:pt>
                      <c:pt idx="131">
                        <c:v>45478</c:v>
                      </c:pt>
                      <c:pt idx="132">
                        <c:v>45485</c:v>
                      </c:pt>
                      <c:pt idx="133">
                        <c:v>45492</c:v>
                      </c:pt>
                      <c:pt idx="134">
                        <c:v>45499</c:v>
                      </c:pt>
                      <c:pt idx="135">
                        <c:v>45506</c:v>
                      </c:pt>
                      <c:pt idx="136">
                        <c:v>45513</c:v>
                      </c:pt>
                      <c:pt idx="137">
                        <c:v>45520</c:v>
                      </c:pt>
                      <c:pt idx="138">
                        <c:v>45527</c:v>
                      </c:pt>
                      <c:pt idx="139">
                        <c:v>45534</c:v>
                      </c:pt>
                      <c:pt idx="140">
                        <c:v>45541</c:v>
                      </c:pt>
                      <c:pt idx="141">
                        <c:v>45548</c:v>
                      </c:pt>
                      <c:pt idx="142">
                        <c:v>45555</c:v>
                      </c:pt>
                      <c:pt idx="143">
                        <c:v>45562</c:v>
                      </c:pt>
                      <c:pt idx="144">
                        <c:v>45569</c:v>
                      </c:pt>
                      <c:pt idx="145">
                        <c:v>45576</c:v>
                      </c:pt>
                      <c:pt idx="146">
                        <c:v>45583</c:v>
                      </c:pt>
                      <c:pt idx="147">
                        <c:v>45590</c:v>
                      </c:pt>
                      <c:pt idx="148">
                        <c:v>45597</c:v>
                      </c:pt>
                      <c:pt idx="149">
                        <c:v>45604</c:v>
                      </c:pt>
                      <c:pt idx="150">
                        <c:v>45611</c:v>
                      </c:pt>
                      <c:pt idx="151">
                        <c:v>45618</c:v>
                      </c:pt>
                      <c:pt idx="152">
                        <c:v>45625</c:v>
                      </c:pt>
                      <c:pt idx="153">
                        <c:v>45632</c:v>
                      </c:pt>
                      <c:pt idx="154">
                        <c:v>45639</c:v>
                      </c:pt>
                      <c:pt idx="155">
                        <c:v>45646</c:v>
                      </c:pt>
                      <c:pt idx="156">
                        <c:v>45653</c:v>
                      </c:pt>
                      <c:pt idx="157">
                        <c:v>45660</c:v>
                      </c:pt>
                      <c:pt idx="158">
                        <c:v>45667</c:v>
                      </c:pt>
                      <c:pt idx="159">
                        <c:v>45674</c:v>
                      </c:pt>
                      <c:pt idx="160">
                        <c:v>45681</c:v>
                      </c:pt>
                      <c:pt idx="161">
                        <c:v>45688</c:v>
                      </c:pt>
                      <c:pt idx="162">
                        <c:v>45695</c:v>
                      </c:pt>
                      <c:pt idx="163">
                        <c:v>45702</c:v>
                      </c:pt>
                      <c:pt idx="164">
                        <c:v>45709</c:v>
                      </c:pt>
                      <c:pt idx="165">
                        <c:v>45716</c:v>
                      </c:pt>
                      <c:pt idx="166">
                        <c:v>45723</c:v>
                      </c:pt>
                      <c:pt idx="167">
                        <c:v>45730</c:v>
                      </c:pt>
                      <c:pt idx="168">
                        <c:v>45737</c:v>
                      </c:pt>
                      <c:pt idx="169">
                        <c:v>45744</c:v>
                      </c:pt>
                      <c:pt idx="170">
                        <c:v>45751</c:v>
                      </c:pt>
                      <c:pt idx="171">
                        <c:v>45758</c:v>
                      </c:pt>
                      <c:pt idx="172">
                        <c:v>45765</c:v>
                      </c:pt>
                      <c:pt idx="173">
                        <c:v>45772</c:v>
                      </c:pt>
                      <c:pt idx="174">
                        <c:v>45779</c:v>
                      </c:pt>
                      <c:pt idx="175">
                        <c:v>45786</c:v>
                      </c:pt>
                      <c:pt idx="176">
                        <c:v>45793</c:v>
                      </c:pt>
                      <c:pt idx="177">
                        <c:v>45800</c:v>
                      </c:pt>
                      <c:pt idx="178">
                        <c:v>45807</c:v>
                      </c:pt>
                      <c:pt idx="179">
                        <c:v>45814</c:v>
                      </c:pt>
                      <c:pt idx="180">
                        <c:v>45821</c:v>
                      </c:pt>
                      <c:pt idx="181">
                        <c:v>45828</c:v>
                      </c:pt>
                      <c:pt idx="182">
                        <c:v>45835</c:v>
                      </c:pt>
                      <c:pt idx="183">
                        <c:v>45842</c:v>
                      </c:pt>
                      <c:pt idx="184">
                        <c:v>45849</c:v>
                      </c:pt>
                      <c:pt idx="185">
                        <c:v>45856</c:v>
                      </c:pt>
                      <c:pt idx="186">
                        <c:v>45863</c:v>
                      </c:pt>
                      <c:pt idx="187">
                        <c:v>45870</c:v>
                      </c:pt>
                      <c:pt idx="188">
                        <c:v>45877</c:v>
                      </c:pt>
                      <c:pt idx="189">
                        <c:v>45884</c:v>
                      </c:pt>
                      <c:pt idx="190">
                        <c:v>45891</c:v>
                      </c:pt>
                      <c:pt idx="191">
                        <c:v>45898</c:v>
                      </c:pt>
                      <c:pt idx="192">
                        <c:v>45905</c:v>
                      </c:pt>
                      <c:pt idx="193">
                        <c:v>45912</c:v>
                      </c:pt>
                      <c:pt idx="194">
                        <c:v>45919</c:v>
                      </c:pt>
                      <c:pt idx="195">
                        <c:v>45926</c:v>
                      </c:pt>
                      <c:pt idx="196">
                        <c:v>45933</c:v>
                      </c:pt>
                      <c:pt idx="197">
                        <c:v>45940</c:v>
                      </c:pt>
                      <c:pt idx="198">
                        <c:v>45947</c:v>
                      </c:pt>
                      <c:pt idx="199">
                        <c:v>45954</c:v>
                      </c:pt>
                      <c:pt idx="200">
                        <c:v>45961</c:v>
                      </c:pt>
                      <c:pt idx="201">
                        <c:v>45968</c:v>
                      </c:pt>
                      <c:pt idx="202">
                        <c:v>45975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指数合成-1.0'!$DE$165:$DE$369</c15:sqref>
                        </c15:formulaRef>
                      </c:ext>
                    </c:extLst>
                    <c:numCache>
                      <c:formatCode>0.0</c:formatCode>
                      <c:ptCount val="205"/>
                      <c:pt idx="0">
                        <c:v>8.7075074616346484</c:v>
                      </c:pt>
                      <c:pt idx="1">
                        <c:v>11.920373350163914</c:v>
                      </c:pt>
                      <c:pt idx="2">
                        <c:v>13.877926313642149</c:v>
                      </c:pt>
                      <c:pt idx="3">
                        <c:v>13.729447827069819</c:v>
                      </c:pt>
                      <c:pt idx="4">
                        <c:v>12.168056750829436</c:v>
                      </c:pt>
                      <c:pt idx="5">
                        <c:v>10.751795532401218</c:v>
                      </c:pt>
                      <c:pt idx="6">
                        <c:v>7.6480106390740161</c:v>
                      </c:pt>
                      <c:pt idx="7">
                        <c:v>3.0246233804071636</c:v>
                      </c:pt>
                      <c:pt idx="8">
                        <c:v>1.041337220109483</c:v>
                      </c:pt>
                      <c:pt idx="9">
                        <c:v>-3.416781095295903</c:v>
                      </c:pt>
                      <c:pt idx="10">
                        <c:v>-4.0831789507131049</c:v>
                      </c:pt>
                      <c:pt idx="11">
                        <c:v>-4.6789897859061114</c:v>
                      </c:pt>
                      <c:pt idx="12">
                        <c:v>-6.7334062866776492</c:v>
                      </c:pt>
                      <c:pt idx="13">
                        <c:v>-8.8478513162601047</c:v>
                      </c:pt>
                      <c:pt idx="14">
                        <c:v>-11.324278002819909</c:v>
                      </c:pt>
                      <c:pt idx="15">
                        <c:v>-12.032164862410298</c:v>
                      </c:pt>
                      <c:pt idx="16">
                        <c:v>-13.388644354427285</c:v>
                      </c:pt>
                      <c:pt idx="17">
                        <c:v>-13.355820381010759</c:v>
                      </c:pt>
                      <c:pt idx="18">
                        <c:v>-16.478775471473156</c:v>
                      </c:pt>
                      <c:pt idx="19">
                        <c:v>-14.640739459559697</c:v>
                      </c:pt>
                      <c:pt idx="20">
                        <c:v>-13.443705588808001</c:v>
                      </c:pt>
                      <c:pt idx="21">
                        <c:v>-14.20727532001024</c:v>
                      </c:pt>
                      <c:pt idx="22">
                        <c:v>-10.835719145486848</c:v>
                      </c:pt>
                      <c:pt idx="23">
                        <c:v>-14.561390953610569</c:v>
                      </c:pt>
                      <c:pt idx="24">
                        <c:v>-18.027537821906094</c:v>
                      </c:pt>
                      <c:pt idx="25">
                        <c:v>-18.755150843867696</c:v>
                      </c:pt>
                      <c:pt idx="26">
                        <c:v>-21.081028992927102</c:v>
                      </c:pt>
                      <c:pt idx="27">
                        <c:v>-20.362174641748226</c:v>
                      </c:pt>
                      <c:pt idx="28">
                        <c:v>-17.633752749024424</c:v>
                      </c:pt>
                      <c:pt idx="29">
                        <c:v>-17.657285631083241</c:v>
                      </c:pt>
                      <c:pt idx="30">
                        <c:v>-13.736834535480952</c:v>
                      </c:pt>
                      <c:pt idx="31">
                        <c:v>-7.8925112840262557</c:v>
                      </c:pt>
                      <c:pt idx="32">
                        <c:v>-3.9580364017685667</c:v>
                      </c:pt>
                      <c:pt idx="33">
                        <c:v>2.0315104418677521</c:v>
                      </c:pt>
                      <c:pt idx="34">
                        <c:v>4.5654269173789146</c:v>
                      </c:pt>
                      <c:pt idx="35">
                        <c:v>5.3152928303552329</c:v>
                      </c:pt>
                      <c:pt idx="36">
                        <c:v>7.8208565059604496</c:v>
                      </c:pt>
                      <c:pt idx="37">
                        <c:v>9.8938937906598738</c:v>
                      </c:pt>
                      <c:pt idx="38">
                        <c:v>8.3670275821678786</c:v>
                      </c:pt>
                      <c:pt idx="39">
                        <c:v>5.0353326727120589</c:v>
                      </c:pt>
                      <c:pt idx="40">
                        <c:v>3.4078498566711914</c:v>
                      </c:pt>
                      <c:pt idx="41">
                        <c:v>-1.0760788405199122</c:v>
                      </c:pt>
                      <c:pt idx="42">
                        <c:v>-3.2431050519252409</c:v>
                      </c:pt>
                      <c:pt idx="43">
                        <c:v>-6.7553335015505525</c:v>
                      </c:pt>
                      <c:pt idx="44">
                        <c:v>-14.106985161467861</c:v>
                      </c:pt>
                      <c:pt idx="45">
                        <c:v>-16.998916452915836</c:v>
                      </c:pt>
                      <c:pt idx="46">
                        <c:v>-15.79106214114708</c:v>
                      </c:pt>
                      <c:pt idx="47">
                        <c:v>-13.734852225425584</c:v>
                      </c:pt>
                      <c:pt idx="48">
                        <c:v>-10.040656514551685</c:v>
                      </c:pt>
                      <c:pt idx="49">
                        <c:v>-6.7924615102586188</c:v>
                      </c:pt>
                      <c:pt idx="50">
                        <c:v>-6.6542452680953232</c:v>
                      </c:pt>
                      <c:pt idx="51">
                        <c:v>-0.91837940538917451</c:v>
                      </c:pt>
                      <c:pt idx="52">
                        <c:v>3.5462150411758984</c:v>
                      </c:pt>
                      <c:pt idx="53">
                        <c:v>7.3574145908559245</c:v>
                      </c:pt>
                      <c:pt idx="54">
                        <c:v>11.052491267945271</c:v>
                      </c:pt>
                      <c:pt idx="55">
                        <c:v>9.7747929674908249</c:v>
                      </c:pt>
                      <c:pt idx="56">
                        <c:v>7.3537627091436093</c:v>
                      </c:pt>
                      <c:pt idx="57">
                        <c:v>-0.11409826749508056</c:v>
                      </c:pt>
                      <c:pt idx="58">
                        <c:v>-7.3057769280741809</c:v>
                      </c:pt>
                      <c:pt idx="59">
                        <c:v>-15.396366531330031</c:v>
                      </c:pt>
                      <c:pt idx="60">
                        <c:v>-23.207737664147515</c:v>
                      </c:pt>
                      <c:pt idx="61">
                        <c:v>-24.408609865537215</c:v>
                      </c:pt>
                      <c:pt idx="62">
                        <c:v>-24.602103175882746</c:v>
                      </c:pt>
                      <c:pt idx="63">
                        <c:v>-20.070382595565192</c:v>
                      </c:pt>
                      <c:pt idx="64">
                        <c:v>-13.858263272360077</c:v>
                      </c:pt>
                      <c:pt idx="65">
                        <c:v>-7.1041597353267036</c:v>
                      </c:pt>
                      <c:pt idx="66">
                        <c:v>-1.8993755179393048</c:v>
                      </c:pt>
                      <c:pt idx="67">
                        <c:v>-2.1808475278818236</c:v>
                      </c:pt>
                      <c:pt idx="68">
                        <c:v>-2.7404136234098502</c:v>
                      </c:pt>
                      <c:pt idx="69">
                        <c:v>-4.0695478357902033</c:v>
                      </c:pt>
                      <c:pt idx="70">
                        <c:v>0.18480959881628678</c:v>
                      </c:pt>
                      <c:pt idx="71">
                        <c:v>-0.31139311940724212</c:v>
                      </c:pt>
                      <c:pt idx="72">
                        <c:v>-2.0657732654347001</c:v>
                      </c:pt>
                      <c:pt idx="73">
                        <c:v>-3.0662331441482991</c:v>
                      </c:pt>
                      <c:pt idx="74">
                        <c:v>-10.153107451529536</c:v>
                      </c:pt>
                      <c:pt idx="75">
                        <c:v>-9.0593829760789504</c:v>
                      </c:pt>
                      <c:pt idx="76">
                        <c:v>-9.4307007295282972</c:v>
                      </c:pt>
                      <c:pt idx="77">
                        <c:v>-6.0286678997352681</c:v>
                      </c:pt>
                      <c:pt idx="78">
                        <c:v>-2.0428364311809588</c:v>
                      </c:pt>
                      <c:pt idx="79">
                        <c:v>-1.1863583356844742</c:v>
                      </c:pt>
                      <c:pt idx="80">
                        <c:v>1.4128087374390361</c:v>
                      </c:pt>
                      <c:pt idx="81">
                        <c:v>-1.162930856309373</c:v>
                      </c:pt>
                      <c:pt idx="82">
                        <c:v>-6.6298884339075101</c:v>
                      </c:pt>
                      <c:pt idx="83">
                        <c:v>-12.648122762407624</c:v>
                      </c:pt>
                      <c:pt idx="84">
                        <c:v>-15.686230304750111</c:v>
                      </c:pt>
                      <c:pt idx="85">
                        <c:v>-20.554619249112008</c:v>
                      </c:pt>
                      <c:pt idx="86">
                        <c:v>-19.133034812119291</c:v>
                      </c:pt>
                      <c:pt idx="87">
                        <c:v>-15.075573895541538</c:v>
                      </c:pt>
                      <c:pt idx="88">
                        <c:v>-12.844331309606005</c:v>
                      </c:pt>
                      <c:pt idx="89">
                        <c:v>-8.6878120984930831</c:v>
                      </c:pt>
                      <c:pt idx="90">
                        <c:v>-6.0369033552493505</c:v>
                      </c:pt>
                      <c:pt idx="91">
                        <c:v>-0.31531053483605831</c:v>
                      </c:pt>
                      <c:pt idx="92">
                        <c:v>4.4055833040372647</c:v>
                      </c:pt>
                      <c:pt idx="93">
                        <c:v>11.352731482557246</c:v>
                      </c:pt>
                      <c:pt idx="94">
                        <c:v>16.443935581358531</c:v>
                      </c:pt>
                      <c:pt idx="95">
                        <c:v>18.5704494965685</c:v>
                      </c:pt>
                      <c:pt idx="96">
                        <c:v>24.161688205588462</c:v>
                      </c:pt>
                      <c:pt idx="97">
                        <c:v>25.609561614114369</c:v>
                      </c:pt>
                      <c:pt idx="98">
                        <c:v>22.301183691177101</c:v>
                      </c:pt>
                      <c:pt idx="99">
                        <c:v>15.568162927325574</c:v>
                      </c:pt>
                      <c:pt idx="100">
                        <c:v>9.6486258780607272</c:v>
                      </c:pt>
                      <c:pt idx="101">
                        <c:v>6.2383386756786194</c:v>
                      </c:pt>
                      <c:pt idx="102">
                        <c:v>6.1760276542583057</c:v>
                      </c:pt>
                      <c:pt idx="103">
                        <c:v>1.748051598907054</c:v>
                      </c:pt>
                      <c:pt idx="104">
                        <c:v>-1.6290478462989029</c:v>
                      </c:pt>
                      <c:pt idx="105">
                        <c:v>-7.6430192224883626</c:v>
                      </c:pt>
                      <c:pt idx="106">
                        <c:v>-14.07474426811666</c:v>
                      </c:pt>
                      <c:pt idx="107">
                        <c:v>-16.808853266462236</c:v>
                      </c:pt>
                      <c:pt idx="108">
                        <c:v>-16.691134025434238</c:v>
                      </c:pt>
                      <c:pt idx="109">
                        <c:v>-9.3574564319880551</c:v>
                      </c:pt>
                      <c:pt idx="110">
                        <c:v>1.08653406182016</c:v>
                      </c:pt>
                      <c:pt idx="111">
                        <c:v>18.026803758946855</c:v>
                      </c:pt>
                      <c:pt idx="112">
                        <c:v>34.704105080228544</c:v>
                      </c:pt>
                      <c:pt idx="113">
                        <c:v>45.183944626750048</c:v>
                      </c:pt>
                      <c:pt idx="114">
                        <c:v>48.875591721303152</c:v>
                      </c:pt>
                      <c:pt idx="115">
                        <c:v>44.994909100430249</c:v>
                      </c:pt>
                      <c:pt idx="116">
                        <c:v>39.183852251986877</c:v>
                      </c:pt>
                      <c:pt idx="117">
                        <c:v>30.612709823550574</c:v>
                      </c:pt>
                      <c:pt idx="118">
                        <c:v>26.495470987845678</c:v>
                      </c:pt>
                      <c:pt idx="119">
                        <c:v>23.383309094895026</c:v>
                      </c:pt>
                      <c:pt idx="120">
                        <c:v>21.603639043582447</c:v>
                      </c:pt>
                      <c:pt idx="121">
                        <c:v>20.024800406570705</c:v>
                      </c:pt>
                      <c:pt idx="122">
                        <c:v>14.335138982623732</c:v>
                      </c:pt>
                      <c:pt idx="123">
                        <c:v>13.131370896465967</c:v>
                      </c:pt>
                      <c:pt idx="124">
                        <c:v>13.591836660256007</c:v>
                      </c:pt>
                      <c:pt idx="125">
                        <c:v>14.779425927131129</c:v>
                      </c:pt>
                      <c:pt idx="126">
                        <c:v>19.415293409632611</c:v>
                      </c:pt>
                      <c:pt idx="127">
                        <c:v>21.429340410916126</c:v>
                      </c:pt>
                      <c:pt idx="128">
                        <c:v>27.237701258878815</c:v>
                      </c:pt>
                      <c:pt idx="129">
                        <c:v>24.195583596578473</c:v>
                      </c:pt>
                      <c:pt idx="130">
                        <c:v>24.691898718601351</c:v>
                      </c:pt>
                      <c:pt idx="131">
                        <c:v>22.430710461086093</c:v>
                      </c:pt>
                      <c:pt idx="132">
                        <c:v>13.591716468952256</c:v>
                      </c:pt>
                      <c:pt idx="133">
                        <c:v>12.765428925195238</c:v>
                      </c:pt>
                      <c:pt idx="134">
                        <c:v>10.428259333108386</c:v>
                      </c:pt>
                      <c:pt idx="135">
                        <c:v>8.6331285814908938</c:v>
                      </c:pt>
                      <c:pt idx="136">
                        <c:v>6.9932640295609332</c:v>
                      </c:pt>
                      <c:pt idx="137">
                        <c:v>9.8967587260915906</c:v>
                      </c:pt>
                      <c:pt idx="138">
                        <c:v>9.2373845544048407</c:v>
                      </c:pt>
                      <c:pt idx="139">
                        <c:v>8.3907066845728622</c:v>
                      </c:pt>
                      <c:pt idx="140">
                        <c:v>8.5460181004174842</c:v>
                      </c:pt>
                      <c:pt idx="141">
                        <c:v>5.0337878791066828</c:v>
                      </c:pt>
                      <c:pt idx="142">
                        <c:v>4.1072430385084715</c:v>
                      </c:pt>
                      <c:pt idx="143">
                        <c:v>1.3471687384923712</c:v>
                      </c:pt>
                      <c:pt idx="144">
                        <c:v>0.71565843851968225</c:v>
                      </c:pt>
                      <c:pt idx="145">
                        <c:v>1.4251684005338774</c:v>
                      </c:pt>
                      <c:pt idx="146">
                        <c:v>0.51612730417285491</c:v>
                      </c:pt>
                      <c:pt idx="147">
                        <c:v>1.817141498241682</c:v>
                      </c:pt>
                      <c:pt idx="148">
                        <c:v>2.5126245965820857</c:v>
                      </c:pt>
                      <c:pt idx="149">
                        <c:v>0.43838282947272944</c:v>
                      </c:pt>
                      <c:pt idx="150">
                        <c:v>-0.47383951958109094</c:v>
                      </c:pt>
                      <c:pt idx="151">
                        <c:v>0.11863202813290741</c:v>
                      </c:pt>
                      <c:pt idx="152">
                        <c:v>-1.1528984157820332E-2</c:v>
                      </c:pt>
                      <c:pt idx="153">
                        <c:v>0.46354716419271824</c:v>
                      </c:pt>
                      <c:pt idx="154">
                        <c:v>0.21654029349946313</c:v>
                      </c:pt>
                      <c:pt idx="155">
                        <c:v>-0.48168694782481225</c:v>
                      </c:pt>
                      <c:pt idx="156">
                        <c:v>-1.055804011455578</c:v>
                      </c:pt>
                      <c:pt idx="157">
                        <c:v>0.46220707606954647</c:v>
                      </c:pt>
                      <c:pt idx="158">
                        <c:v>4.6036606055379679</c:v>
                      </c:pt>
                      <c:pt idx="159">
                        <c:v>8.0763740310635228</c:v>
                      </c:pt>
                      <c:pt idx="160">
                        <c:v>10.210912995555987</c:v>
                      </c:pt>
                      <c:pt idx="161">
                        <c:v>9.6409838213578354</c:v>
                      </c:pt>
                      <c:pt idx="162">
                        <c:v>8.5059688158140432</c:v>
                      </c:pt>
                      <c:pt idx="163">
                        <c:v>4.9975040900260836</c:v>
                      </c:pt>
                      <c:pt idx="164">
                        <c:v>2.8076134844438343</c:v>
                      </c:pt>
                      <c:pt idx="165">
                        <c:v>0.62194173213343618</c:v>
                      </c:pt>
                      <c:pt idx="166">
                        <c:v>-1.3720713264511346</c:v>
                      </c:pt>
                      <c:pt idx="167">
                        <c:v>-0.24922318252845344</c:v>
                      </c:pt>
                      <c:pt idx="168">
                        <c:v>1.0393595798576598</c:v>
                      </c:pt>
                      <c:pt idx="169">
                        <c:v>2.4889923156068363</c:v>
                      </c:pt>
                      <c:pt idx="170">
                        <c:v>2.9149425119362036</c:v>
                      </c:pt>
                      <c:pt idx="171">
                        <c:v>4.1219718361407303</c:v>
                      </c:pt>
                      <c:pt idx="172">
                        <c:v>5.7885168317982618</c:v>
                      </c:pt>
                      <c:pt idx="173">
                        <c:v>7.1439783254351852</c:v>
                      </c:pt>
                      <c:pt idx="174">
                        <c:v>8.1996109196609979</c:v>
                      </c:pt>
                      <c:pt idx="175">
                        <c:v>7.913592300881092</c:v>
                      </c:pt>
                      <c:pt idx="176">
                        <c:v>8.7212271550759084</c:v>
                      </c:pt>
                      <c:pt idx="177">
                        <c:v>10.201621003977436</c:v>
                      </c:pt>
                      <c:pt idx="178">
                        <c:v>13.032756325232157</c:v>
                      </c:pt>
                      <c:pt idx="179">
                        <c:v>15.483170743910961</c:v>
                      </c:pt>
                      <c:pt idx="180">
                        <c:v>14.813884351713043</c:v>
                      </c:pt>
                      <c:pt idx="181">
                        <c:v>16.03058199167107</c:v>
                      </c:pt>
                      <c:pt idx="182">
                        <c:v>16.522626411353684</c:v>
                      </c:pt>
                      <c:pt idx="183">
                        <c:v>15.999492931258644</c:v>
                      </c:pt>
                      <c:pt idx="184">
                        <c:v>17.947772400284151</c:v>
                      </c:pt>
                      <c:pt idx="185">
                        <c:v>19.623147799559376</c:v>
                      </c:pt>
                      <c:pt idx="186">
                        <c:v>18.733301369392194</c:v>
                      </c:pt>
                      <c:pt idx="187">
                        <c:v>18.651319957823873</c:v>
                      </c:pt>
                      <c:pt idx="188">
                        <c:v>17.478171544595142</c:v>
                      </c:pt>
                      <c:pt idx="189">
                        <c:v>14.484868063655369</c:v>
                      </c:pt>
                      <c:pt idx="190">
                        <c:v>14.569241487403445</c:v>
                      </c:pt>
                      <c:pt idx="191">
                        <c:v>16.046306432027762</c:v>
                      </c:pt>
                      <c:pt idx="192">
                        <c:v>19.021001633873794</c:v>
                      </c:pt>
                      <c:pt idx="193">
                        <c:v>22.36205667149153</c:v>
                      </c:pt>
                      <c:pt idx="194">
                        <c:v>23.309857741418853</c:v>
                      </c:pt>
                      <c:pt idx="195">
                        <c:v>21.185715929097199</c:v>
                      </c:pt>
                      <c:pt idx="196">
                        <c:v>13.270988482084462</c:v>
                      </c:pt>
                      <c:pt idx="197">
                        <c:v>8.4115441112832485</c:v>
                      </c:pt>
                      <c:pt idx="198">
                        <c:v>3.8299855221377186</c:v>
                      </c:pt>
                      <c:pt idx="199">
                        <c:v>2.3228324290974314</c:v>
                      </c:pt>
                      <c:pt idx="200">
                        <c:v>6.3287258592113176</c:v>
                      </c:pt>
                      <c:pt idx="201">
                        <c:v>9.9073275778186485</c:v>
                      </c:pt>
                      <c:pt idx="202">
                        <c:v>16.935113601236381</c:v>
                      </c:pt>
                    </c:numCache>
                  </c:numRef>
                </c:val>
                <c:smooth val="1"/>
                <c:extLst>
                  <c:ext xmlns:c16="http://schemas.microsoft.com/office/drawing/2014/chart" uri="{C3380CC4-5D6E-409C-BE32-E72D297353CC}">
                    <c16:uniqueId val="{00000004-B431-4766-AB30-7EB3CB2E8345}"/>
                  </c:ext>
                </c:extLst>
              </c15:ser>
            </c15:filteredLineSeries>
            <c15:filteredLineSeries>
              <c15:ser>
                <c:idx val="1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指数合成-1.0'!$DF$8</c15:sqref>
                        </c15:formulaRef>
                      </c:ext>
                    </c:extLst>
                    <c:strCache>
                      <c:ptCount val="1"/>
                      <c:pt idx="0">
                        <c:v>广义流通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指数合成-1.0'!$DC$165:$DC$369</c15:sqref>
                        </c15:formulaRef>
                      </c:ext>
                    </c:extLst>
                    <c:numCache>
                      <c:formatCode>yyyy\-mm\-dd</c:formatCode>
                      <c:ptCount val="205"/>
                      <c:pt idx="0">
                        <c:v>44561</c:v>
                      </c:pt>
                      <c:pt idx="1">
                        <c:v>44568</c:v>
                      </c:pt>
                      <c:pt idx="2">
                        <c:v>44575</c:v>
                      </c:pt>
                      <c:pt idx="3">
                        <c:v>44582</c:v>
                      </c:pt>
                      <c:pt idx="4">
                        <c:v>44589</c:v>
                      </c:pt>
                      <c:pt idx="5">
                        <c:v>44596</c:v>
                      </c:pt>
                      <c:pt idx="6">
                        <c:v>44603</c:v>
                      </c:pt>
                      <c:pt idx="7">
                        <c:v>44610</c:v>
                      </c:pt>
                      <c:pt idx="8">
                        <c:v>44617</c:v>
                      </c:pt>
                      <c:pt idx="9">
                        <c:v>44624</c:v>
                      </c:pt>
                      <c:pt idx="10">
                        <c:v>44631</c:v>
                      </c:pt>
                      <c:pt idx="11">
                        <c:v>44638</c:v>
                      </c:pt>
                      <c:pt idx="12">
                        <c:v>44645</c:v>
                      </c:pt>
                      <c:pt idx="13">
                        <c:v>44652</c:v>
                      </c:pt>
                      <c:pt idx="14">
                        <c:v>44659</c:v>
                      </c:pt>
                      <c:pt idx="15">
                        <c:v>44666</c:v>
                      </c:pt>
                      <c:pt idx="16">
                        <c:v>44673</c:v>
                      </c:pt>
                      <c:pt idx="17">
                        <c:v>44680</c:v>
                      </c:pt>
                      <c:pt idx="18">
                        <c:v>44687</c:v>
                      </c:pt>
                      <c:pt idx="19">
                        <c:v>44694</c:v>
                      </c:pt>
                      <c:pt idx="20">
                        <c:v>44701</c:v>
                      </c:pt>
                      <c:pt idx="21">
                        <c:v>44708</c:v>
                      </c:pt>
                      <c:pt idx="22">
                        <c:v>44715</c:v>
                      </c:pt>
                      <c:pt idx="23">
                        <c:v>44722</c:v>
                      </c:pt>
                      <c:pt idx="24">
                        <c:v>44729</c:v>
                      </c:pt>
                      <c:pt idx="25">
                        <c:v>44736</c:v>
                      </c:pt>
                      <c:pt idx="26">
                        <c:v>44743</c:v>
                      </c:pt>
                      <c:pt idx="27">
                        <c:v>44750</c:v>
                      </c:pt>
                      <c:pt idx="28">
                        <c:v>44757</c:v>
                      </c:pt>
                      <c:pt idx="29">
                        <c:v>44764</c:v>
                      </c:pt>
                      <c:pt idx="30">
                        <c:v>44771</c:v>
                      </c:pt>
                      <c:pt idx="31">
                        <c:v>44778</c:v>
                      </c:pt>
                      <c:pt idx="32">
                        <c:v>44785</c:v>
                      </c:pt>
                      <c:pt idx="33">
                        <c:v>44792</c:v>
                      </c:pt>
                      <c:pt idx="34">
                        <c:v>44799</c:v>
                      </c:pt>
                      <c:pt idx="35">
                        <c:v>44806</c:v>
                      </c:pt>
                      <c:pt idx="36">
                        <c:v>44813</c:v>
                      </c:pt>
                      <c:pt idx="37">
                        <c:v>44820</c:v>
                      </c:pt>
                      <c:pt idx="38">
                        <c:v>44827</c:v>
                      </c:pt>
                      <c:pt idx="39">
                        <c:v>44834</c:v>
                      </c:pt>
                      <c:pt idx="40">
                        <c:v>44841</c:v>
                      </c:pt>
                      <c:pt idx="41">
                        <c:v>44848</c:v>
                      </c:pt>
                      <c:pt idx="42">
                        <c:v>44855</c:v>
                      </c:pt>
                      <c:pt idx="43">
                        <c:v>44862</c:v>
                      </c:pt>
                      <c:pt idx="44">
                        <c:v>44869</c:v>
                      </c:pt>
                      <c:pt idx="45">
                        <c:v>44876</c:v>
                      </c:pt>
                      <c:pt idx="46">
                        <c:v>44883</c:v>
                      </c:pt>
                      <c:pt idx="47">
                        <c:v>44890</c:v>
                      </c:pt>
                      <c:pt idx="48">
                        <c:v>44897</c:v>
                      </c:pt>
                      <c:pt idx="49">
                        <c:v>44904</c:v>
                      </c:pt>
                      <c:pt idx="50">
                        <c:v>44911</c:v>
                      </c:pt>
                      <c:pt idx="51">
                        <c:v>44918</c:v>
                      </c:pt>
                      <c:pt idx="52">
                        <c:v>44925</c:v>
                      </c:pt>
                      <c:pt idx="53">
                        <c:v>44932</c:v>
                      </c:pt>
                      <c:pt idx="54">
                        <c:v>44939</c:v>
                      </c:pt>
                      <c:pt idx="55">
                        <c:v>44946</c:v>
                      </c:pt>
                      <c:pt idx="56">
                        <c:v>44953</c:v>
                      </c:pt>
                      <c:pt idx="57">
                        <c:v>44960</c:v>
                      </c:pt>
                      <c:pt idx="58">
                        <c:v>44967</c:v>
                      </c:pt>
                      <c:pt idx="59">
                        <c:v>44974</c:v>
                      </c:pt>
                      <c:pt idx="60">
                        <c:v>44981</c:v>
                      </c:pt>
                      <c:pt idx="61">
                        <c:v>44988</c:v>
                      </c:pt>
                      <c:pt idx="62">
                        <c:v>44995</c:v>
                      </c:pt>
                      <c:pt idx="63">
                        <c:v>45002</c:v>
                      </c:pt>
                      <c:pt idx="64">
                        <c:v>45009</c:v>
                      </c:pt>
                      <c:pt idx="65">
                        <c:v>45016</c:v>
                      </c:pt>
                      <c:pt idx="66">
                        <c:v>45023</c:v>
                      </c:pt>
                      <c:pt idx="67">
                        <c:v>45030</c:v>
                      </c:pt>
                      <c:pt idx="68">
                        <c:v>45037</c:v>
                      </c:pt>
                      <c:pt idx="69">
                        <c:v>45044</c:v>
                      </c:pt>
                      <c:pt idx="70">
                        <c:v>45051</c:v>
                      </c:pt>
                      <c:pt idx="71">
                        <c:v>45058</c:v>
                      </c:pt>
                      <c:pt idx="72">
                        <c:v>45065</c:v>
                      </c:pt>
                      <c:pt idx="73">
                        <c:v>45072</c:v>
                      </c:pt>
                      <c:pt idx="74">
                        <c:v>45079</c:v>
                      </c:pt>
                      <c:pt idx="75">
                        <c:v>45086</c:v>
                      </c:pt>
                      <c:pt idx="76">
                        <c:v>45093</c:v>
                      </c:pt>
                      <c:pt idx="77">
                        <c:v>45100</c:v>
                      </c:pt>
                      <c:pt idx="78">
                        <c:v>45107</c:v>
                      </c:pt>
                      <c:pt idx="79">
                        <c:v>45114</c:v>
                      </c:pt>
                      <c:pt idx="80">
                        <c:v>45121</c:v>
                      </c:pt>
                      <c:pt idx="81">
                        <c:v>45128</c:v>
                      </c:pt>
                      <c:pt idx="82">
                        <c:v>45135</c:v>
                      </c:pt>
                      <c:pt idx="83">
                        <c:v>45142</c:v>
                      </c:pt>
                      <c:pt idx="84">
                        <c:v>45149</c:v>
                      </c:pt>
                      <c:pt idx="85">
                        <c:v>45156</c:v>
                      </c:pt>
                      <c:pt idx="86">
                        <c:v>45163</c:v>
                      </c:pt>
                      <c:pt idx="87">
                        <c:v>45170</c:v>
                      </c:pt>
                      <c:pt idx="88">
                        <c:v>45177</c:v>
                      </c:pt>
                      <c:pt idx="89">
                        <c:v>45184</c:v>
                      </c:pt>
                      <c:pt idx="90">
                        <c:v>45191</c:v>
                      </c:pt>
                      <c:pt idx="91">
                        <c:v>45198</c:v>
                      </c:pt>
                      <c:pt idx="92">
                        <c:v>45205</c:v>
                      </c:pt>
                      <c:pt idx="93">
                        <c:v>45212</c:v>
                      </c:pt>
                      <c:pt idx="94">
                        <c:v>45219</c:v>
                      </c:pt>
                      <c:pt idx="95">
                        <c:v>45226</c:v>
                      </c:pt>
                      <c:pt idx="96">
                        <c:v>45233</c:v>
                      </c:pt>
                      <c:pt idx="97">
                        <c:v>45240</c:v>
                      </c:pt>
                      <c:pt idx="98">
                        <c:v>45247</c:v>
                      </c:pt>
                      <c:pt idx="99">
                        <c:v>45254</c:v>
                      </c:pt>
                      <c:pt idx="100">
                        <c:v>45261</c:v>
                      </c:pt>
                      <c:pt idx="101">
                        <c:v>45268</c:v>
                      </c:pt>
                      <c:pt idx="102">
                        <c:v>45275</c:v>
                      </c:pt>
                      <c:pt idx="103">
                        <c:v>45282</c:v>
                      </c:pt>
                      <c:pt idx="104">
                        <c:v>45289</c:v>
                      </c:pt>
                      <c:pt idx="105">
                        <c:v>45296</c:v>
                      </c:pt>
                      <c:pt idx="106">
                        <c:v>45303</c:v>
                      </c:pt>
                      <c:pt idx="107">
                        <c:v>45310</c:v>
                      </c:pt>
                      <c:pt idx="108">
                        <c:v>45317</c:v>
                      </c:pt>
                      <c:pt idx="109">
                        <c:v>45324</c:v>
                      </c:pt>
                      <c:pt idx="110">
                        <c:v>45331</c:v>
                      </c:pt>
                      <c:pt idx="111">
                        <c:v>45338</c:v>
                      </c:pt>
                      <c:pt idx="112">
                        <c:v>45345</c:v>
                      </c:pt>
                      <c:pt idx="113">
                        <c:v>45352</c:v>
                      </c:pt>
                      <c:pt idx="114">
                        <c:v>45359</c:v>
                      </c:pt>
                      <c:pt idx="115">
                        <c:v>45366</c:v>
                      </c:pt>
                      <c:pt idx="116">
                        <c:v>45373</c:v>
                      </c:pt>
                      <c:pt idx="117">
                        <c:v>45380</c:v>
                      </c:pt>
                      <c:pt idx="118">
                        <c:v>45387</c:v>
                      </c:pt>
                      <c:pt idx="119">
                        <c:v>45394</c:v>
                      </c:pt>
                      <c:pt idx="120">
                        <c:v>45401</c:v>
                      </c:pt>
                      <c:pt idx="121">
                        <c:v>45408</c:v>
                      </c:pt>
                      <c:pt idx="122">
                        <c:v>45415</c:v>
                      </c:pt>
                      <c:pt idx="123">
                        <c:v>45422</c:v>
                      </c:pt>
                      <c:pt idx="124">
                        <c:v>45429</c:v>
                      </c:pt>
                      <c:pt idx="125">
                        <c:v>45436</c:v>
                      </c:pt>
                      <c:pt idx="126">
                        <c:v>45443</c:v>
                      </c:pt>
                      <c:pt idx="127">
                        <c:v>45450</c:v>
                      </c:pt>
                      <c:pt idx="128">
                        <c:v>45457</c:v>
                      </c:pt>
                      <c:pt idx="129">
                        <c:v>45464</c:v>
                      </c:pt>
                      <c:pt idx="130">
                        <c:v>45471</c:v>
                      </c:pt>
                      <c:pt idx="131">
                        <c:v>45478</c:v>
                      </c:pt>
                      <c:pt idx="132">
                        <c:v>45485</c:v>
                      </c:pt>
                      <c:pt idx="133">
                        <c:v>45492</c:v>
                      </c:pt>
                      <c:pt idx="134">
                        <c:v>45499</c:v>
                      </c:pt>
                      <c:pt idx="135">
                        <c:v>45506</c:v>
                      </c:pt>
                      <c:pt idx="136">
                        <c:v>45513</c:v>
                      </c:pt>
                      <c:pt idx="137">
                        <c:v>45520</c:v>
                      </c:pt>
                      <c:pt idx="138">
                        <c:v>45527</c:v>
                      </c:pt>
                      <c:pt idx="139">
                        <c:v>45534</c:v>
                      </c:pt>
                      <c:pt idx="140">
                        <c:v>45541</c:v>
                      </c:pt>
                      <c:pt idx="141">
                        <c:v>45548</c:v>
                      </c:pt>
                      <c:pt idx="142">
                        <c:v>45555</c:v>
                      </c:pt>
                      <c:pt idx="143">
                        <c:v>45562</c:v>
                      </c:pt>
                      <c:pt idx="144">
                        <c:v>45569</c:v>
                      </c:pt>
                      <c:pt idx="145">
                        <c:v>45576</c:v>
                      </c:pt>
                      <c:pt idx="146">
                        <c:v>45583</c:v>
                      </c:pt>
                      <c:pt idx="147">
                        <c:v>45590</c:v>
                      </c:pt>
                      <c:pt idx="148">
                        <c:v>45597</c:v>
                      </c:pt>
                      <c:pt idx="149">
                        <c:v>45604</c:v>
                      </c:pt>
                      <c:pt idx="150">
                        <c:v>45611</c:v>
                      </c:pt>
                      <c:pt idx="151">
                        <c:v>45618</c:v>
                      </c:pt>
                      <c:pt idx="152">
                        <c:v>45625</c:v>
                      </c:pt>
                      <c:pt idx="153">
                        <c:v>45632</c:v>
                      </c:pt>
                      <c:pt idx="154">
                        <c:v>45639</c:v>
                      </c:pt>
                      <c:pt idx="155">
                        <c:v>45646</c:v>
                      </c:pt>
                      <c:pt idx="156">
                        <c:v>45653</c:v>
                      </c:pt>
                      <c:pt idx="157">
                        <c:v>45660</c:v>
                      </c:pt>
                      <c:pt idx="158">
                        <c:v>45667</c:v>
                      </c:pt>
                      <c:pt idx="159">
                        <c:v>45674</c:v>
                      </c:pt>
                      <c:pt idx="160">
                        <c:v>45681</c:v>
                      </c:pt>
                      <c:pt idx="161">
                        <c:v>45688</c:v>
                      </c:pt>
                      <c:pt idx="162">
                        <c:v>45695</c:v>
                      </c:pt>
                      <c:pt idx="163">
                        <c:v>45702</c:v>
                      </c:pt>
                      <c:pt idx="164">
                        <c:v>45709</c:v>
                      </c:pt>
                      <c:pt idx="165">
                        <c:v>45716</c:v>
                      </c:pt>
                      <c:pt idx="166">
                        <c:v>45723</c:v>
                      </c:pt>
                      <c:pt idx="167">
                        <c:v>45730</c:v>
                      </c:pt>
                      <c:pt idx="168">
                        <c:v>45737</c:v>
                      </c:pt>
                      <c:pt idx="169">
                        <c:v>45744</c:v>
                      </c:pt>
                      <c:pt idx="170">
                        <c:v>45751</c:v>
                      </c:pt>
                      <c:pt idx="171">
                        <c:v>45758</c:v>
                      </c:pt>
                      <c:pt idx="172">
                        <c:v>45765</c:v>
                      </c:pt>
                      <c:pt idx="173">
                        <c:v>45772</c:v>
                      </c:pt>
                      <c:pt idx="174">
                        <c:v>45779</c:v>
                      </c:pt>
                      <c:pt idx="175">
                        <c:v>45786</c:v>
                      </c:pt>
                      <c:pt idx="176">
                        <c:v>45793</c:v>
                      </c:pt>
                      <c:pt idx="177">
                        <c:v>45800</c:v>
                      </c:pt>
                      <c:pt idx="178">
                        <c:v>45807</c:v>
                      </c:pt>
                      <c:pt idx="179">
                        <c:v>45814</c:v>
                      </c:pt>
                      <c:pt idx="180">
                        <c:v>45821</c:v>
                      </c:pt>
                      <c:pt idx="181">
                        <c:v>45828</c:v>
                      </c:pt>
                      <c:pt idx="182">
                        <c:v>45835</c:v>
                      </c:pt>
                      <c:pt idx="183">
                        <c:v>45842</c:v>
                      </c:pt>
                      <c:pt idx="184">
                        <c:v>45849</c:v>
                      </c:pt>
                      <c:pt idx="185">
                        <c:v>45856</c:v>
                      </c:pt>
                      <c:pt idx="186">
                        <c:v>45863</c:v>
                      </c:pt>
                      <c:pt idx="187">
                        <c:v>45870</c:v>
                      </c:pt>
                      <c:pt idx="188">
                        <c:v>45877</c:v>
                      </c:pt>
                      <c:pt idx="189">
                        <c:v>45884</c:v>
                      </c:pt>
                      <c:pt idx="190">
                        <c:v>45891</c:v>
                      </c:pt>
                      <c:pt idx="191">
                        <c:v>45898</c:v>
                      </c:pt>
                      <c:pt idx="192">
                        <c:v>45905</c:v>
                      </c:pt>
                      <c:pt idx="193">
                        <c:v>45912</c:v>
                      </c:pt>
                      <c:pt idx="194">
                        <c:v>45919</c:v>
                      </c:pt>
                      <c:pt idx="195">
                        <c:v>45926</c:v>
                      </c:pt>
                      <c:pt idx="196">
                        <c:v>45933</c:v>
                      </c:pt>
                      <c:pt idx="197">
                        <c:v>45940</c:v>
                      </c:pt>
                      <c:pt idx="198">
                        <c:v>45947</c:v>
                      </c:pt>
                      <c:pt idx="199">
                        <c:v>45954</c:v>
                      </c:pt>
                      <c:pt idx="200">
                        <c:v>45961</c:v>
                      </c:pt>
                      <c:pt idx="201">
                        <c:v>45968</c:v>
                      </c:pt>
                      <c:pt idx="202">
                        <c:v>45975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指数合成-1.0'!$DF$165:$DF$369</c15:sqref>
                        </c15:formulaRef>
                      </c:ext>
                    </c:extLst>
                    <c:numCache>
                      <c:formatCode>0.0</c:formatCode>
                      <c:ptCount val="205"/>
                      <c:pt idx="0">
                        <c:v>-5.3532165371107681</c:v>
                      </c:pt>
                      <c:pt idx="1">
                        <c:v>-7.1679508803266714</c:v>
                      </c:pt>
                      <c:pt idx="2">
                        <c:v>-6.7244438614925741</c:v>
                      </c:pt>
                      <c:pt idx="3">
                        <c:v>-8.1373162413859035</c:v>
                      </c:pt>
                      <c:pt idx="4">
                        <c:v>-11.208343156473106</c:v>
                      </c:pt>
                      <c:pt idx="5">
                        <c:v>-15.916981556083797</c:v>
                      </c:pt>
                      <c:pt idx="6">
                        <c:v>-15.908858863919178</c:v>
                      </c:pt>
                      <c:pt idx="7">
                        <c:v>-5.8110947168352141</c:v>
                      </c:pt>
                      <c:pt idx="8">
                        <c:v>0.16359223415429369</c:v>
                      </c:pt>
                      <c:pt idx="9">
                        <c:v>5.3596244604739809</c:v>
                      </c:pt>
                      <c:pt idx="10">
                        <c:v>-0.76008083649846014</c:v>
                      </c:pt>
                      <c:pt idx="11">
                        <c:v>-15.390562874173639</c:v>
                      </c:pt>
                      <c:pt idx="12">
                        <c:v>-24.379249224053794</c:v>
                      </c:pt>
                      <c:pt idx="13">
                        <c:v>-29.65212439260965</c:v>
                      </c:pt>
                      <c:pt idx="14">
                        <c:v>-34.124511848955819</c:v>
                      </c:pt>
                      <c:pt idx="15">
                        <c:v>-35.568062171237003</c:v>
                      </c:pt>
                      <c:pt idx="16">
                        <c:v>-34.425359799035647</c:v>
                      </c:pt>
                      <c:pt idx="17">
                        <c:v>-32.154396539694659</c:v>
                      </c:pt>
                      <c:pt idx="18">
                        <c:v>-28.463111969562291</c:v>
                      </c:pt>
                      <c:pt idx="19">
                        <c:v>-24.139231381289335</c:v>
                      </c:pt>
                      <c:pt idx="20">
                        <c:v>-20.508970581134662</c:v>
                      </c:pt>
                      <c:pt idx="21">
                        <c:v>-15.71003018922984</c:v>
                      </c:pt>
                      <c:pt idx="22">
                        <c:v>-11.720358625415841</c:v>
                      </c:pt>
                      <c:pt idx="23">
                        <c:v>-8.8744920004450876</c:v>
                      </c:pt>
                      <c:pt idx="24">
                        <c:v>-6.1546285134432281</c:v>
                      </c:pt>
                      <c:pt idx="25">
                        <c:v>-4.0677964312650658</c:v>
                      </c:pt>
                      <c:pt idx="26">
                        <c:v>-0.58253090655607309</c:v>
                      </c:pt>
                      <c:pt idx="27">
                        <c:v>2.3225591069718377</c:v>
                      </c:pt>
                      <c:pt idx="28">
                        <c:v>3.9934989594493118</c:v>
                      </c:pt>
                      <c:pt idx="29">
                        <c:v>4.9942399520675167</c:v>
                      </c:pt>
                      <c:pt idx="30">
                        <c:v>5.7090294988977064</c:v>
                      </c:pt>
                      <c:pt idx="31">
                        <c:v>9.5838471745998817</c:v>
                      </c:pt>
                      <c:pt idx="32">
                        <c:v>13.936793156202583</c:v>
                      </c:pt>
                      <c:pt idx="33">
                        <c:v>16.649637587317102</c:v>
                      </c:pt>
                      <c:pt idx="34">
                        <c:v>14.283175905767649</c:v>
                      </c:pt>
                      <c:pt idx="35">
                        <c:v>7.4265615355050016</c:v>
                      </c:pt>
                      <c:pt idx="36">
                        <c:v>0.30111740085725103</c:v>
                      </c:pt>
                      <c:pt idx="37">
                        <c:v>-6.9453086295204116</c:v>
                      </c:pt>
                      <c:pt idx="38">
                        <c:v>-8.6402536289891998</c:v>
                      </c:pt>
                      <c:pt idx="39">
                        <c:v>-6.9262326083763952</c:v>
                      </c:pt>
                      <c:pt idx="40">
                        <c:v>-5.8063627454096007</c:v>
                      </c:pt>
                      <c:pt idx="41">
                        <c:v>-3.5066425027916637</c:v>
                      </c:pt>
                      <c:pt idx="42">
                        <c:v>-4.1225838412861435</c:v>
                      </c:pt>
                      <c:pt idx="43">
                        <c:v>-5.1050058063451047</c:v>
                      </c:pt>
                      <c:pt idx="44">
                        <c:v>-5.5922437366124598</c:v>
                      </c:pt>
                      <c:pt idx="45">
                        <c:v>-6.8393958708106624</c:v>
                      </c:pt>
                      <c:pt idx="46">
                        <c:v>-7.0620743270430069</c:v>
                      </c:pt>
                      <c:pt idx="47">
                        <c:v>-10.670829654577673</c:v>
                      </c:pt>
                      <c:pt idx="48">
                        <c:v>-13.622622994290481</c:v>
                      </c:pt>
                      <c:pt idx="49">
                        <c:v>-12.429897947132503</c:v>
                      </c:pt>
                      <c:pt idx="50">
                        <c:v>-13.171328162458252</c:v>
                      </c:pt>
                      <c:pt idx="51">
                        <c:v>-15.517789106030875</c:v>
                      </c:pt>
                      <c:pt idx="52">
                        <c:v>-16.506863142440409</c:v>
                      </c:pt>
                      <c:pt idx="53">
                        <c:v>-16.328179819639388</c:v>
                      </c:pt>
                      <c:pt idx="54">
                        <c:v>-13.718997684094006</c:v>
                      </c:pt>
                      <c:pt idx="55">
                        <c:v>-10.157640091684172</c:v>
                      </c:pt>
                      <c:pt idx="56">
                        <c:v>-10.711520110171307</c:v>
                      </c:pt>
                      <c:pt idx="57">
                        <c:v>0.36360880243884708</c:v>
                      </c:pt>
                      <c:pt idx="58">
                        <c:v>13.73626960129279</c:v>
                      </c:pt>
                      <c:pt idx="59">
                        <c:v>26.98249627864638</c:v>
                      </c:pt>
                      <c:pt idx="60">
                        <c:v>39.201488166693025</c:v>
                      </c:pt>
                      <c:pt idx="61">
                        <c:v>29.975079053965999</c:v>
                      </c:pt>
                      <c:pt idx="62">
                        <c:v>23.414417293467764</c:v>
                      </c:pt>
                      <c:pt idx="63">
                        <c:v>25.08191910472128</c:v>
                      </c:pt>
                      <c:pt idx="64">
                        <c:v>31.910059521027932</c:v>
                      </c:pt>
                      <c:pt idx="65">
                        <c:v>39.366978526363397</c:v>
                      </c:pt>
                      <c:pt idx="66">
                        <c:v>48.513449763173497</c:v>
                      </c:pt>
                      <c:pt idx="67">
                        <c:v>50.709948767481364</c:v>
                      </c:pt>
                      <c:pt idx="68">
                        <c:v>48.607789772604406</c:v>
                      </c:pt>
                      <c:pt idx="69">
                        <c:v>44.535722793308338</c:v>
                      </c:pt>
                      <c:pt idx="70">
                        <c:v>39.568156211681526</c:v>
                      </c:pt>
                      <c:pt idx="71">
                        <c:v>33.548227284085669</c:v>
                      </c:pt>
                      <c:pt idx="72">
                        <c:v>28.091792563197146</c:v>
                      </c:pt>
                      <c:pt idx="73">
                        <c:v>22.342099827068225</c:v>
                      </c:pt>
                      <c:pt idx="74">
                        <c:v>15.280950320098157</c:v>
                      </c:pt>
                      <c:pt idx="75">
                        <c:v>11.014446553895382</c:v>
                      </c:pt>
                      <c:pt idx="76">
                        <c:v>7.5984791720008076</c:v>
                      </c:pt>
                      <c:pt idx="77">
                        <c:v>3.8096199644654689</c:v>
                      </c:pt>
                      <c:pt idx="78">
                        <c:v>1.8350532495853003</c:v>
                      </c:pt>
                      <c:pt idx="79">
                        <c:v>0.78424395170759453</c:v>
                      </c:pt>
                      <c:pt idx="80">
                        <c:v>-8.8510335460640022E-2</c:v>
                      </c:pt>
                      <c:pt idx="81">
                        <c:v>1.2116150405710329</c:v>
                      </c:pt>
                      <c:pt idx="82">
                        <c:v>1.7236521624369061</c:v>
                      </c:pt>
                      <c:pt idx="83">
                        <c:v>1.106543040173662</c:v>
                      </c:pt>
                      <c:pt idx="84">
                        <c:v>1.895113375036857</c:v>
                      </c:pt>
                      <c:pt idx="85">
                        <c:v>3.4662066924206556</c:v>
                      </c:pt>
                      <c:pt idx="86">
                        <c:v>6.2430661226777602</c:v>
                      </c:pt>
                      <c:pt idx="87">
                        <c:v>9.7312358474998035</c:v>
                      </c:pt>
                      <c:pt idx="88">
                        <c:v>12.475145114261736</c:v>
                      </c:pt>
                      <c:pt idx="89">
                        <c:v>16.13686124182972</c:v>
                      </c:pt>
                      <c:pt idx="90">
                        <c:v>17.545460683470267</c:v>
                      </c:pt>
                      <c:pt idx="91">
                        <c:v>17.67385442866744</c:v>
                      </c:pt>
                      <c:pt idx="92">
                        <c:v>16.287341764672519</c:v>
                      </c:pt>
                      <c:pt idx="93">
                        <c:v>13.032013438616374</c:v>
                      </c:pt>
                      <c:pt idx="94">
                        <c:v>12.190039939831564</c:v>
                      </c:pt>
                      <c:pt idx="95">
                        <c:v>10.979159609404675</c:v>
                      </c:pt>
                      <c:pt idx="96">
                        <c:v>10.974973171192829</c:v>
                      </c:pt>
                      <c:pt idx="97">
                        <c:v>11.202378774543448</c:v>
                      </c:pt>
                      <c:pt idx="98">
                        <c:v>10.907896577149273</c:v>
                      </c:pt>
                      <c:pt idx="99">
                        <c:v>13.283574872708925</c:v>
                      </c:pt>
                      <c:pt idx="100">
                        <c:v>16.4685486734449</c:v>
                      </c:pt>
                      <c:pt idx="101">
                        <c:v>15.332216898910218</c:v>
                      </c:pt>
                      <c:pt idx="102">
                        <c:v>18.109125836208847</c:v>
                      </c:pt>
                      <c:pt idx="103">
                        <c:v>26.098289040604001</c:v>
                      </c:pt>
                      <c:pt idx="104">
                        <c:v>28.446197489199989</c:v>
                      </c:pt>
                      <c:pt idx="105">
                        <c:v>29.551021556018185</c:v>
                      </c:pt>
                      <c:pt idx="106">
                        <c:v>24.013011888533086</c:v>
                      </c:pt>
                      <c:pt idx="107">
                        <c:v>18.868751589750786</c:v>
                      </c:pt>
                      <c:pt idx="108">
                        <c:v>26.921392038410659</c:v>
                      </c:pt>
                      <c:pt idx="109">
                        <c:v>26.729597615752681</c:v>
                      </c:pt>
                      <c:pt idx="110">
                        <c:v>15.055720484349095</c:v>
                      </c:pt>
                      <c:pt idx="111">
                        <c:v>-10.08720365625426</c:v>
                      </c:pt>
                      <c:pt idx="112">
                        <c:v>-26.420440842092987</c:v>
                      </c:pt>
                      <c:pt idx="113">
                        <c:v>-30.019722794966768</c:v>
                      </c:pt>
                      <c:pt idx="114">
                        <c:v>-24.058370434371142</c:v>
                      </c:pt>
                      <c:pt idx="115">
                        <c:v>-11.993853625118405</c:v>
                      </c:pt>
                      <c:pt idx="116">
                        <c:v>-7.9588042308937759</c:v>
                      </c:pt>
                      <c:pt idx="117">
                        <c:v>-7.2524030437723752</c:v>
                      </c:pt>
                      <c:pt idx="118">
                        <c:v>-7.9626850785974455</c:v>
                      </c:pt>
                      <c:pt idx="119">
                        <c:v>-5.9024817038975499</c:v>
                      </c:pt>
                      <c:pt idx="120">
                        <c:v>-4.5500926326948417</c:v>
                      </c:pt>
                      <c:pt idx="121">
                        <c:v>-3.7849633840981198</c:v>
                      </c:pt>
                      <c:pt idx="122">
                        <c:v>-1.0268440842996256</c:v>
                      </c:pt>
                      <c:pt idx="123">
                        <c:v>-3.3820595015618125</c:v>
                      </c:pt>
                      <c:pt idx="124">
                        <c:v>-3.9816873685883536</c:v>
                      </c:pt>
                      <c:pt idx="125">
                        <c:v>-4.228240300865636</c:v>
                      </c:pt>
                      <c:pt idx="126">
                        <c:v>-6.2177259702685603</c:v>
                      </c:pt>
                      <c:pt idx="127">
                        <c:v>-7.329762720437202</c:v>
                      </c:pt>
                      <c:pt idx="128">
                        <c:v>-10.579409326922047</c:v>
                      </c:pt>
                      <c:pt idx="129">
                        <c:v>-10.824367333216287</c:v>
                      </c:pt>
                      <c:pt idx="130">
                        <c:v>-12.475496636511409</c:v>
                      </c:pt>
                      <c:pt idx="131">
                        <c:v>-11.857463133925776</c:v>
                      </c:pt>
                      <c:pt idx="132">
                        <c:v>-10.753288829578423</c:v>
                      </c:pt>
                      <c:pt idx="133">
                        <c:v>-12.112099186763288</c:v>
                      </c:pt>
                      <c:pt idx="134">
                        <c:v>-11.157304506672531</c:v>
                      </c:pt>
                      <c:pt idx="135">
                        <c:v>-10.608833098415062</c:v>
                      </c:pt>
                      <c:pt idx="136">
                        <c:v>-10.168685572093395</c:v>
                      </c:pt>
                      <c:pt idx="137">
                        <c:v>-10.404563732354674</c:v>
                      </c:pt>
                      <c:pt idx="138">
                        <c:v>-10.913048615647014</c:v>
                      </c:pt>
                      <c:pt idx="139">
                        <c:v>-10.427696356717604</c:v>
                      </c:pt>
                      <c:pt idx="140">
                        <c:v>-9.5316249998928413</c:v>
                      </c:pt>
                      <c:pt idx="141">
                        <c:v>-7.4940319477521768</c:v>
                      </c:pt>
                      <c:pt idx="142">
                        <c:v>-7.9299180180555879</c:v>
                      </c:pt>
                      <c:pt idx="143">
                        <c:v>-10.122631649847662</c:v>
                      </c:pt>
                      <c:pt idx="144">
                        <c:v>-8.782672614573471</c:v>
                      </c:pt>
                      <c:pt idx="145">
                        <c:v>-13.273271093987091</c:v>
                      </c:pt>
                      <c:pt idx="146">
                        <c:v>-11.622609303118438</c:v>
                      </c:pt>
                      <c:pt idx="147">
                        <c:v>-9.4908509568629</c:v>
                      </c:pt>
                      <c:pt idx="148">
                        <c:v>-10.864822037532505</c:v>
                      </c:pt>
                      <c:pt idx="149">
                        <c:v>-7.2362101014650761</c:v>
                      </c:pt>
                      <c:pt idx="150">
                        <c:v>-7.8072299148849567</c:v>
                      </c:pt>
                      <c:pt idx="151">
                        <c:v>-6.9020454332152639</c:v>
                      </c:pt>
                      <c:pt idx="152">
                        <c:v>-5.4551894676860826</c:v>
                      </c:pt>
                      <c:pt idx="153">
                        <c:v>-3.4463370339178141</c:v>
                      </c:pt>
                      <c:pt idx="154">
                        <c:v>-3.9156977364483794</c:v>
                      </c:pt>
                      <c:pt idx="155">
                        <c:v>-7.2485617630909758</c:v>
                      </c:pt>
                      <c:pt idx="156">
                        <c:v>-9.4671106240447784</c:v>
                      </c:pt>
                      <c:pt idx="157">
                        <c:v>-10.352430975320075</c:v>
                      </c:pt>
                      <c:pt idx="158">
                        <c:v>-9.624074976286181</c:v>
                      </c:pt>
                      <c:pt idx="159">
                        <c:v>-7.5693766866636025</c:v>
                      </c:pt>
                      <c:pt idx="160">
                        <c:v>-10.344929379921126</c:v>
                      </c:pt>
                      <c:pt idx="161">
                        <c:v>-19.84564460009274</c:v>
                      </c:pt>
                      <c:pt idx="162">
                        <c:v>-22.19782941507674</c:v>
                      </c:pt>
                      <c:pt idx="163">
                        <c:v>-13.605900629129636</c:v>
                      </c:pt>
                      <c:pt idx="164">
                        <c:v>-5.6391353135411038</c:v>
                      </c:pt>
                      <c:pt idx="165">
                        <c:v>6.8734167549250174</c:v>
                      </c:pt>
                      <c:pt idx="166">
                        <c:v>7.508386823648209</c:v>
                      </c:pt>
                      <c:pt idx="167">
                        <c:v>-2.5833243180650101</c:v>
                      </c:pt>
                      <c:pt idx="168">
                        <c:v>-4.8898398656198054</c:v>
                      </c:pt>
                      <c:pt idx="169">
                        <c:v>-3.9718068362264631</c:v>
                      </c:pt>
                      <c:pt idx="170">
                        <c:v>-2.6007472921735797</c:v>
                      </c:pt>
                      <c:pt idx="171">
                        <c:v>-3.965001134393404</c:v>
                      </c:pt>
                      <c:pt idx="172">
                        <c:v>-4.5730101303591937</c:v>
                      </c:pt>
                      <c:pt idx="173">
                        <c:v>-5.7415122673063195</c:v>
                      </c:pt>
                      <c:pt idx="174">
                        <c:v>-6.8067613901435493</c:v>
                      </c:pt>
                      <c:pt idx="175">
                        <c:v>-6.3815692933084165</c:v>
                      </c:pt>
                      <c:pt idx="176">
                        <c:v>-5.9970009450203037</c:v>
                      </c:pt>
                      <c:pt idx="177">
                        <c:v>-4.9193830721638534</c:v>
                      </c:pt>
                      <c:pt idx="178">
                        <c:v>-4.5282770174476639</c:v>
                      </c:pt>
                      <c:pt idx="179">
                        <c:v>-4.1575039896569024</c:v>
                      </c:pt>
                      <c:pt idx="180">
                        <c:v>-1.7166359189076985</c:v>
                      </c:pt>
                      <c:pt idx="181">
                        <c:v>-1.6453659699918859</c:v>
                      </c:pt>
                      <c:pt idx="182">
                        <c:v>-1.6347848761043622</c:v>
                      </c:pt>
                      <c:pt idx="183">
                        <c:v>-0.21233408260721376</c:v>
                      </c:pt>
                      <c:pt idx="184">
                        <c:v>-0.23421574672124734</c:v>
                      </c:pt>
                      <c:pt idx="185">
                        <c:v>0.60979531132825571</c:v>
                      </c:pt>
                      <c:pt idx="186">
                        <c:v>1.2873260300688401</c:v>
                      </c:pt>
                      <c:pt idx="187">
                        <c:v>1.4206137966029644</c:v>
                      </c:pt>
                      <c:pt idx="188">
                        <c:v>0.14989325651606578</c:v>
                      </c:pt>
                      <c:pt idx="189">
                        <c:v>0.10734092823425101</c:v>
                      </c:pt>
                      <c:pt idx="190">
                        <c:v>0.21927094105332401</c:v>
                      </c:pt>
                      <c:pt idx="191">
                        <c:v>0.24824159080070274</c:v>
                      </c:pt>
                      <c:pt idx="192">
                        <c:v>0.47502494797377892</c:v>
                      </c:pt>
                      <c:pt idx="193">
                        <c:v>0.11374098356439788</c:v>
                      </c:pt>
                      <c:pt idx="194">
                        <c:v>1.7330431451043609</c:v>
                      </c:pt>
                      <c:pt idx="195">
                        <c:v>3.8566866999138654</c:v>
                      </c:pt>
                      <c:pt idx="196">
                        <c:v>6.9717548965503937</c:v>
                      </c:pt>
                      <c:pt idx="197">
                        <c:v>7.1849439062966667</c:v>
                      </c:pt>
                      <c:pt idx="198">
                        <c:v>5.8140327769678777</c:v>
                      </c:pt>
                      <c:pt idx="199">
                        <c:v>4.3704170964084597</c:v>
                      </c:pt>
                      <c:pt idx="200">
                        <c:v>2.1333921298570431</c:v>
                      </c:pt>
                      <c:pt idx="201">
                        <c:v>3.396022273742588</c:v>
                      </c:pt>
                      <c:pt idx="202">
                        <c:v>2.3931984138221338</c:v>
                      </c:pt>
                    </c:numCache>
                  </c:numRef>
                </c: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B431-4766-AB30-7EB3CB2E8345}"/>
                  </c:ext>
                </c:extLst>
              </c15:ser>
            </c15:filteredLineSeries>
          </c:ext>
        </c:extLst>
      </c:lineChart>
      <c:dateAx>
        <c:axId val="314968175"/>
        <c:scaling>
          <c:orientation val="minMax"/>
          <c:min val="45444"/>
        </c:scaling>
        <c:delete val="0"/>
        <c:axPos val="b"/>
        <c:numFmt formatCode="yy/m;@" sourceLinked="0"/>
        <c:majorTickMark val="in"/>
        <c:minorTickMark val="none"/>
        <c:tickLblPos val="low"/>
        <c:spPr>
          <a:noFill/>
          <a:ln w="6350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14967855"/>
        <c:crosses val="autoZero"/>
        <c:auto val="0"/>
        <c:lblOffset val="100"/>
        <c:baseTimeUnit val="days"/>
        <c:majorUnit val="2"/>
        <c:majorTimeUnit val="months"/>
      </c:dateAx>
      <c:valAx>
        <c:axId val="314967855"/>
        <c:scaling>
          <c:orientation val="minMax"/>
          <c:max val="60"/>
          <c:min val="-4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lumMod val="15000"/>
                      <a:lumOff val="85000"/>
                    </a:sysClr>
                  </a:solidFill>
                  <a:round/>
                </a14:hiddenLine>
              </a:ext>
            </a:extLst>
          </c:spPr>
        </c:majorGridlines>
        <c:numFmt formatCode="###,###,###,###,##0" sourceLinked="0"/>
        <c:majorTickMark val="in"/>
        <c:minorTickMark val="none"/>
        <c:tickLblPos val="nextTo"/>
        <c:spPr>
          <a:noFill/>
          <a:ln w="6350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14968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307267963868606E-2"/>
          <c:y val="0.88652038124718979"/>
          <c:w val="0.98669273203613139"/>
          <c:h val="0.10944678171852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/>
  </c:chart>
  <c:spPr>
    <a:solidFill>
      <a:sysClr val="window" lastClr="FFFFFF"/>
    </a:solidFill>
    <a:ln w="9525" cap="flat" cmpd="sng" algn="ctr">
      <a:noFill/>
      <a:round/>
    </a:ln>
    <a:effectLst/>
    <a:extLs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lumMod val="15000"/>
              <a:lumOff val="85000"/>
            </a:sysClr>
          </a:solidFill>
          <a:round/>
        </a14:hiddenLine>
      </a:ext>
    </a:extLst>
  </c:spPr>
  <c:txPr>
    <a:bodyPr/>
    <a:lstStyle/>
    <a:p>
      <a:pPr>
        <a:defRPr sz="1000">
          <a:solidFill>
            <a:sysClr val="windowText" lastClr="000000"/>
          </a:solidFill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72F638-0C0C-4CA8-863A-1E2917928455}" type="datetimeFigureOut">
              <a:rPr lang="zh-CN" altLang="en-US" smtClean="0"/>
              <a:t>2025/11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D096B5-0F79-4FDB-AF32-65CF87E9E6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2868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940075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E73934-97DA-273F-E26A-3A8AC7975D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DD53203-5DE1-6AF9-B3D8-40161CCF74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928463B-B19E-C3EA-7176-052D165937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466756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E0AA5A-1D2D-3FA2-51D1-A48E33A044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42285D4A-562E-A57F-39A4-D0705D536D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D52FEE6-6270-53D1-AF4E-143067A74A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257393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8A5265-638A-ABBF-4AB4-3CF893351E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ED5E72F-1209-0E68-AD6D-7C89D3E0BE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E149B741-04D1-8972-B201-6BDAA4702A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60086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2454C2-51FD-056B-2D24-0651C6795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7C36C21-1D54-DDEE-AA56-4DBD782CA9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6E4C5D5-195D-CE90-EF5B-60A9B50F9C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8651485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730D14-2D19-A839-D88D-80B562E53A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AE52E52-E29E-96B8-42C4-3C1C2A18A8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2191504-0BA0-3B0C-3E95-04D565A94C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3835965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854CA3-9B93-0194-66DB-33DEEE57A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BD3B5AF-0DF7-D64B-E2D8-1FBB0EB02C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DD28D3F-A591-55D1-1793-B36B0A1819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49483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41F672-9835-A204-9A13-6AD9B6F58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7C05384-3318-35F5-B213-17D8669BF0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10E17086-8AB6-7A9E-C45E-B5198CD529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17107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C563F2-948D-C778-15ED-E262410CF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FDEF9FC-2BD9-DAF3-A293-6F32754623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4909D35D-043E-F3B6-E87D-21D428B599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48121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B36B02-2773-4F8E-0954-191E6AD35F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0489E3D-2BE7-1073-396C-418F73EC77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0E24EE1-A1EF-CCC1-9749-34DA622B9B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45563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577B0E-3684-D7E9-6BFA-1D2170F67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20AE629-2BCE-6BF7-D5BC-866D721E23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BC87F2B-3506-8257-6842-D7BBDBB70C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27191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8C8249-92DD-EE6E-48DF-585A3D079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49964F4-F49C-1D1F-9DC7-316165B1E5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D846176-FB7B-EC52-44C5-399FBDF633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8851721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E1D2DB-0683-CF1E-B7D4-D4BB591E9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61D9173-58DC-99B8-E5C2-898F36C25D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43D53D2-BA95-F941-0CA3-CCF45C3072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301528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ABC4F-8A45-CB6A-74F7-803D88370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8FF5508-A5C8-C8D7-7924-1D9094FAE0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B4A71CE-B34F-6FD4-A5FC-795E55D0ED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35301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8ABD83-19D4-1EB7-2A77-CBDF660C03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06B54B7-CAAF-0F55-D042-9056B9CBE7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1B40421A-706F-71EA-6A24-5FCA41F57D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21803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image" Target="../media/image4.jpeg"/><Relationship Id="rId5" Type="http://schemas.openxmlformats.org/officeDocument/2006/relationships/tags" Target="../tags/tag52.xml"/><Relationship Id="rId10" Type="http://schemas.openxmlformats.org/officeDocument/2006/relationships/image" Target="../media/image3.emf"/><Relationship Id="rId4" Type="http://schemas.openxmlformats.org/officeDocument/2006/relationships/tags" Target="../tags/tag51.xml"/><Relationship Id="rId9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image" Target="../media/image2.emf"/><Relationship Id="rId2" Type="http://schemas.openxmlformats.org/officeDocument/2006/relationships/tags" Target="../tags/tag56.xml"/><Relationship Id="rId16" Type="http://schemas.openxmlformats.org/officeDocument/2006/relationships/oleObject" Target="../embeddings/oleObject5.bin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image" Target="../media/image4.jpeg"/><Relationship Id="rId5" Type="http://schemas.openxmlformats.org/officeDocument/2006/relationships/tags" Target="../tags/tag73.xml"/><Relationship Id="rId10" Type="http://schemas.openxmlformats.org/officeDocument/2006/relationships/image" Target="../media/image2.emf"/><Relationship Id="rId4" Type="http://schemas.openxmlformats.org/officeDocument/2006/relationships/tags" Target="../tags/tag72.xml"/><Relationship Id="rId9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8.xml"/><Relationship Id="rId7" Type="http://schemas.openxmlformats.org/officeDocument/2006/relationships/image" Target="../media/image2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4.jpeg"/><Relationship Id="rId4" Type="http://schemas.openxmlformats.org/officeDocument/2006/relationships/tags" Target="../tags/tag33.xml"/><Relationship Id="rId9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image" Target="../media/image4.jpeg"/><Relationship Id="rId4" Type="http://schemas.openxmlformats.org/officeDocument/2006/relationships/tags" Target="../tags/tag39.xml"/><Relationship Id="rId9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10" Type="http://schemas.openxmlformats.org/officeDocument/2006/relationships/image" Target="../media/image4.jpeg"/><Relationship Id="rId4" Type="http://schemas.openxmlformats.org/officeDocument/2006/relationships/tags" Target="../tags/tag45.xml"/><Relationship Id="rId9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正文级别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1B886ADE-170E-4534-B96C-087F9784B8E3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16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866060" y="6426314"/>
            <a:ext cx="344001" cy="338550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US" altLang="zh-CN" smtClean="0"/>
              <a:pPr/>
              <a:t>‹#›</a:t>
            </a:fld>
            <a:endParaRPr lang="en-US" altLang="zh-CN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297D44C-0E92-9818-E288-8325D26FDA9A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4" name="灯片编号占位符 5">
            <a:extLst>
              <a:ext uri="{FF2B5EF4-FFF2-40B4-BE49-F238E27FC236}">
                <a16:creationId xmlns:a16="http://schemas.microsoft.com/office/drawing/2014/main" id="{7E1C5E21-E61D-C3CB-34FF-3E09648C4481}"/>
              </a:ext>
            </a:extLst>
          </p:cNvPr>
          <p:cNvSpPr txBox="1">
            <a:spLocks/>
          </p:cNvSpPr>
          <p:nvPr userDrawn="1"/>
        </p:nvSpPr>
        <p:spPr>
          <a:xfrm>
            <a:off x="11843915" y="6371039"/>
            <a:ext cx="374776" cy="369326"/>
          </a:xfrm>
          <a:prstGeom prst="rect">
            <a:avLst/>
          </a:prstGeom>
          <a:ln w="12700">
            <a:miter lim="400000"/>
          </a:ln>
        </p:spPr>
        <p:txBody>
          <a:bodyPr wrap="none" lIns="60957" tIns="60957" rIns="60957" bIns="60957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0C913308-F349-4B6D-A68A-DD1791B4A57B}" type="slidenum">
              <a:rPr lang="zh-CN" altLang="en-US" sz="1600" smtClean="0"/>
              <a:pPr/>
              <a:t>‹#›</a:t>
            </a:fld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47949113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F350A0C1-CF1E-0751-8FF6-CE1996830179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id="{C3B91C98-11E2-8198-7388-68181B81B6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7260A3-EE63-DE36-D5EE-34CA4C6CD35F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3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97072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2500" b="1" dirty="0" err="1">
              <a:solidFill>
                <a:srgbClr val="FFFFFF"/>
              </a:solidFill>
              <a:latin typeface="Georgia" panose="02040502050405020303" pitchFamily="18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rgbClr val="F0F0F0"/>
              </a:solidFill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74565" y="6499381"/>
            <a:ext cx="107080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>
              <a:defRPr/>
            </a:pPr>
            <a:r>
              <a:rPr lang="en-US" altLang="zh-CN" sz="900" dirty="0" err="1">
                <a:solidFill>
                  <a:srgbClr val="000000"/>
                </a:solidFill>
                <a:cs typeface="Arial" panose="020B0604020202020204" pitchFamily="34" charset="0"/>
              </a:rPr>
              <a:t>McKinsey&amp;Company</a:t>
            </a:r>
            <a:endParaRPr lang="en-US" altLang="zh-CN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altLang="zh-CN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zh-CN" alt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zh-CN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altLang="en-US" sz="800">
                <a:solidFill>
                  <a:srgbClr val="000000"/>
                </a:solidFill>
              </a:rPr>
              <a:t>资料来源：</a:t>
            </a:r>
            <a:r>
              <a:rPr lang="en-US" altLang="zh-CN" sz="80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24FC89B9-27D6-473D-93DF-880226F4C89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63337359-D43D-43A2-84F1-8094F8635AB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altLang="zh-CN" sz="1600"/>
              <a:t>Click to edit Master subtitle style</a:t>
            </a:r>
            <a:endParaRPr lang="zh-CN" sz="1600" dirty="0"/>
          </a:p>
        </p:txBody>
      </p:sp>
      <p:sp>
        <p:nvSpPr>
          <p:cNvPr id="25" name="1. On-page tracker">
            <a:extLst>
              <a:ext uri="{FF2B5EF4-FFF2-40B4-BE49-F238E27FC236}">
                <a16:creationId xmlns:a16="http://schemas.microsoft.com/office/drawing/2014/main" id="{E56FBB8C-4E9C-4207-9A79-5E0466E3B3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zh-CN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353373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48DE95B4-AE0C-7EEC-4C08-E3F3FC75B62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4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id="{A5A449F4-9A94-8C4C-4BB5-56A0788520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1C9440-2E33-5BEB-02DF-A72A9F978542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9121699" cy="54541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FFFFFF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14165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C3786B9E-054E-4287-B177-412FFEADC2D3}"/>
              </a:ext>
            </a:extLst>
          </p:cNvPr>
          <p:cNvSpPr/>
          <p:nvPr userDrawn="1"/>
        </p:nvSpPr>
        <p:spPr>
          <a:xfrm flipH="1">
            <a:off x="-4475" y="711200"/>
            <a:ext cx="5174550" cy="6146800"/>
          </a:xfrm>
          <a:custGeom>
            <a:avLst/>
            <a:gdLst>
              <a:gd name="connsiteX0" fmla="*/ 1730139 w 5174550"/>
              <a:gd name="connsiteY0" fmla="*/ 0 h 6146800"/>
              <a:gd name="connsiteX1" fmla="*/ 785190 w 5174550"/>
              <a:gd name="connsiteY1" fmla="*/ 0 h 6146800"/>
              <a:gd name="connsiteX2" fmla="*/ 510939 w 5174550"/>
              <a:gd name="connsiteY2" fmla="*/ 0 h 6146800"/>
              <a:gd name="connsiteX3" fmla="*/ 434009 w 5174550"/>
              <a:gd name="connsiteY3" fmla="*/ 0 h 6146800"/>
              <a:gd name="connsiteX4" fmla="*/ 0 w 5174550"/>
              <a:gd name="connsiteY4" fmla="*/ 774522 h 6146800"/>
              <a:gd name="connsiteX5" fmla="*/ 3010401 w 5174550"/>
              <a:gd name="connsiteY5" fmla="*/ 6146800 h 6146800"/>
              <a:gd name="connsiteX6" fmla="*/ 3955350 w 5174550"/>
              <a:gd name="connsiteY6" fmla="*/ 6146800 h 6146800"/>
              <a:gd name="connsiteX7" fmla="*/ 4229601 w 5174550"/>
              <a:gd name="connsiteY7" fmla="*/ 6146800 h 6146800"/>
              <a:gd name="connsiteX8" fmla="*/ 5174550 w 5174550"/>
              <a:gd name="connsiteY8" fmla="*/ 6146800 h 614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4550" h="6146800">
                <a:moveTo>
                  <a:pt x="1730139" y="0"/>
                </a:moveTo>
                <a:lnTo>
                  <a:pt x="785190" y="0"/>
                </a:lnTo>
                <a:lnTo>
                  <a:pt x="510939" y="0"/>
                </a:lnTo>
                <a:lnTo>
                  <a:pt x="434009" y="0"/>
                </a:lnTo>
                <a:lnTo>
                  <a:pt x="0" y="774522"/>
                </a:lnTo>
                <a:lnTo>
                  <a:pt x="3010401" y="6146800"/>
                </a:lnTo>
                <a:lnTo>
                  <a:pt x="3955350" y="6146800"/>
                </a:lnTo>
                <a:lnTo>
                  <a:pt x="4229601" y="6146800"/>
                </a:lnTo>
                <a:lnTo>
                  <a:pt x="5174550" y="61468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dirty="0">
              <a:solidFill>
                <a:srgbClr val="000000"/>
              </a:solidFill>
            </a:endParaRPr>
          </a:p>
        </p:txBody>
      </p:sp>
      <p:sp>
        <p:nvSpPr>
          <p:cNvPr id="31" name="Rectangle 2_2">
            <a:extLst>
              <a:ext uri="{FF2B5EF4-FFF2-40B4-BE49-F238E27FC236}">
                <a16:creationId xmlns:a16="http://schemas.microsoft.com/office/drawing/2014/main" id="{A56AC786-B6DF-470F-A893-22C4416AA79F}"/>
              </a:ext>
            </a:extLst>
          </p:cNvPr>
          <p:cNvSpPr/>
          <p:nvPr userDrawn="1"/>
        </p:nvSpPr>
        <p:spPr>
          <a:xfrm>
            <a:off x="0" y="1462175"/>
            <a:ext cx="12192000" cy="3322769"/>
          </a:xfrm>
          <a:prstGeom prst="rect">
            <a:avLst/>
          </a:prstGeom>
          <a:blipFill>
            <a:blip r:embed="rId2"/>
            <a:stretch>
              <a:fillRect t="-225861" b="-22414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DBC81850-0FE5-46C6-B952-F1700C2104EF}"/>
              </a:ext>
            </a:extLst>
          </p:cNvPr>
          <p:cNvSpPr/>
          <p:nvPr/>
        </p:nvSpPr>
        <p:spPr>
          <a:xfrm rot="292154">
            <a:off x="4603891" y="5539278"/>
            <a:ext cx="1326105" cy="1327954"/>
          </a:xfrm>
          <a:custGeom>
            <a:avLst/>
            <a:gdLst>
              <a:gd name="connsiteX0" fmla="*/ 823782 w 1326105"/>
              <a:gd name="connsiteY0" fmla="*/ 494129 h 1327954"/>
              <a:gd name="connsiteX1" fmla="*/ 893587 w 1326105"/>
              <a:gd name="connsiteY1" fmla="*/ 528419 h 1327954"/>
              <a:gd name="connsiteX2" fmla="*/ 1326105 w 1326105"/>
              <a:gd name="connsiteY2" fmla="*/ 1276011 h 1327954"/>
              <a:gd name="connsiteX3" fmla="*/ 1170834 w 1326105"/>
              <a:gd name="connsiteY3" fmla="*/ 1289239 h 1327954"/>
              <a:gd name="connsiteX4" fmla="*/ 771122 w 1326105"/>
              <a:gd name="connsiteY4" fmla="*/ 599449 h 1327954"/>
              <a:gd name="connsiteX5" fmla="*/ 796840 w 1326105"/>
              <a:gd name="connsiteY5" fmla="*/ 502703 h 1327954"/>
              <a:gd name="connsiteX6" fmla="*/ 823782 w 1326105"/>
              <a:gd name="connsiteY6" fmla="*/ 494129 h 1327954"/>
              <a:gd name="connsiteX7" fmla="*/ 62053 w 1326105"/>
              <a:gd name="connsiteY7" fmla="*/ 598 h 1327954"/>
              <a:gd name="connsiteX8" fmla="*/ 131858 w 1326105"/>
              <a:gd name="connsiteY8" fmla="*/ 34888 h 1327954"/>
              <a:gd name="connsiteX9" fmla="*/ 871615 w 1326105"/>
              <a:gd name="connsiteY9" fmla="*/ 1314729 h 1327954"/>
              <a:gd name="connsiteX10" fmla="*/ 716377 w 1326105"/>
              <a:gd name="connsiteY10" fmla="*/ 1327954 h 1327954"/>
              <a:gd name="connsiteX11" fmla="*/ 9393 w 1326105"/>
              <a:gd name="connsiteY11" fmla="*/ 105918 h 1327954"/>
              <a:gd name="connsiteX12" fmla="*/ 35111 w 1326105"/>
              <a:gd name="connsiteY12" fmla="*/ 9171 h 1327954"/>
              <a:gd name="connsiteX13" fmla="*/ 62053 w 1326105"/>
              <a:gd name="connsiteY13" fmla="*/ 598 h 1327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26105" h="1327954">
                <a:moveTo>
                  <a:pt x="823782" y="494129"/>
                </a:moveTo>
                <a:cubicBezTo>
                  <a:pt x="850724" y="490456"/>
                  <a:pt x="878891" y="503926"/>
                  <a:pt x="893587" y="528419"/>
                </a:cubicBezTo>
                <a:lnTo>
                  <a:pt x="1326105" y="1276011"/>
                </a:lnTo>
                <a:lnTo>
                  <a:pt x="1170834" y="1289239"/>
                </a:lnTo>
                <a:lnTo>
                  <a:pt x="771122" y="599449"/>
                </a:lnTo>
                <a:cubicBezTo>
                  <a:pt x="751528" y="565160"/>
                  <a:pt x="763773" y="522296"/>
                  <a:pt x="796840" y="502703"/>
                </a:cubicBezTo>
                <a:cubicBezTo>
                  <a:pt x="805411" y="497803"/>
                  <a:pt x="815209" y="495354"/>
                  <a:pt x="823782" y="494129"/>
                </a:cubicBezTo>
                <a:close/>
                <a:moveTo>
                  <a:pt x="62053" y="598"/>
                </a:moveTo>
                <a:cubicBezTo>
                  <a:pt x="88995" y="-3076"/>
                  <a:pt x="117162" y="10395"/>
                  <a:pt x="131858" y="34888"/>
                </a:cubicBezTo>
                <a:lnTo>
                  <a:pt x="871615" y="1314729"/>
                </a:lnTo>
                <a:lnTo>
                  <a:pt x="716377" y="1327954"/>
                </a:lnTo>
                <a:lnTo>
                  <a:pt x="9393" y="105918"/>
                </a:lnTo>
                <a:cubicBezTo>
                  <a:pt x="-10201" y="71627"/>
                  <a:pt x="2046" y="28765"/>
                  <a:pt x="35111" y="9171"/>
                </a:cubicBezTo>
                <a:cubicBezTo>
                  <a:pt x="43683" y="5497"/>
                  <a:pt x="52256" y="1823"/>
                  <a:pt x="62053" y="598"/>
                </a:cubicBezTo>
                <a:close/>
              </a:path>
            </a:pathLst>
          </a:custGeom>
          <a:solidFill>
            <a:schemeClr val="accent1"/>
          </a:solidFill>
          <a:ln w="1224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722397EE-1B46-4D59-8023-33A16FD188F2}"/>
              </a:ext>
            </a:extLst>
          </p:cNvPr>
          <p:cNvSpPr/>
          <p:nvPr userDrawn="1"/>
        </p:nvSpPr>
        <p:spPr>
          <a:xfrm>
            <a:off x="5155368" y="1462175"/>
            <a:ext cx="7036633" cy="3322769"/>
          </a:xfrm>
          <a:custGeom>
            <a:avLst/>
            <a:gdLst>
              <a:gd name="connsiteX0" fmla="*/ 0 w 7036633"/>
              <a:gd name="connsiteY0" fmla="*/ 0 h 3322769"/>
              <a:gd name="connsiteX1" fmla="*/ 1888662 w 7036633"/>
              <a:gd name="connsiteY1" fmla="*/ 0 h 3322769"/>
              <a:gd name="connsiteX2" fmla="*/ 5508033 w 7036633"/>
              <a:gd name="connsiteY2" fmla="*/ 0 h 3322769"/>
              <a:gd name="connsiteX3" fmla="*/ 7036633 w 7036633"/>
              <a:gd name="connsiteY3" fmla="*/ 0 h 3322769"/>
              <a:gd name="connsiteX4" fmla="*/ 7036633 w 7036633"/>
              <a:gd name="connsiteY4" fmla="*/ 3322769 h 3322769"/>
              <a:gd name="connsiteX5" fmla="*/ 5508033 w 7036633"/>
              <a:gd name="connsiteY5" fmla="*/ 3322769 h 3322769"/>
              <a:gd name="connsiteX6" fmla="*/ 1888662 w 7036633"/>
              <a:gd name="connsiteY6" fmla="*/ 3322769 h 3322769"/>
              <a:gd name="connsiteX7" fmla="*/ 1861942 w 7036633"/>
              <a:gd name="connsiteY7" fmla="*/ 3322769 h 3322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36633" h="3322769">
                <a:moveTo>
                  <a:pt x="0" y="0"/>
                </a:moveTo>
                <a:lnTo>
                  <a:pt x="1888662" y="0"/>
                </a:lnTo>
                <a:lnTo>
                  <a:pt x="5508033" y="0"/>
                </a:lnTo>
                <a:lnTo>
                  <a:pt x="7036633" y="0"/>
                </a:lnTo>
                <a:lnTo>
                  <a:pt x="7036633" y="3322769"/>
                </a:lnTo>
                <a:lnTo>
                  <a:pt x="5508033" y="3322769"/>
                </a:lnTo>
                <a:lnTo>
                  <a:pt x="1888662" y="3322769"/>
                </a:lnTo>
                <a:lnTo>
                  <a:pt x="1861942" y="3322769"/>
                </a:lnTo>
                <a:close/>
              </a:path>
            </a:pathLst>
          </a:cu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8CB6C888-C368-4B4D-B6DF-F885839E6082}"/>
              </a:ext>
            </a:extLst>
          </p:cNvPr>
          <p:cNvSpPr/>
          <p:nvPr userDrawn="1"/>
        </p:nvSpPr>
        <p:spPr>
          <a:xfrm>
            <a:off x="3515351" y="711200"/>
            <a:ext cx="3503186" cy="4075938"/>
          </a:xfrm>
          <a:custGeom>
            <a:avLst/>
            <a:gdLst>
              <a:gd name="connsiteX0" fmla="*/ 0 w 3503186"/>
              <a:gd name="connsiteY0" fmla="*/ 0 h 4075938"/>
              <a:gd name="connsiteX1" fmla="*/ 1219200 w 3503186"/>
              <a:gd name="connsiteY1" fmla="*/ 0 h 4075938"/>
              <a:gd name="connsiteX2" fmla="*/ 3503186 w 3503186"/>
              <a:gd name="connsiteY2" fmla="*/ 4075938 h 4075938"/>
              <a:gd name="connsiteX3" fmla="*/ 2283986 w 3503186"/>
              <a:gd name="connsiteY3" fmla="*/ 4075938 h 407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3186" h="4075938">
                <a:moveTo>
                  <a:pt x="0" y="0"/>
                </a:moveTo>
                <a:lnTo>
                  <a:pt x="1219200" y="0"/>
                </a:lnTo>
                <a:lnTo>
                  <a:pt x="3503186" y="4075938"/>
                </a:lnTo>
                <a:lnTo>
                  <a:pt x="2283986" y="407593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dirty="0">
              <a:solidFill>
                <a:srgbClr val="000000"/>
              </a:solidFill>
            </a:endParaRPr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0718" y="4198723"/>
            <a:ext cx="10850563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>
            <p:ph type="ctrTitle"/>
          </p:nvPr>
        </p:nvSpPr>
        <p:spPr>
          <a:xfrm>
            <a:off x="670718" y="1253273"/>
            <a:ext cx="10850563" cy="2945450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345939" y="5386788"/>
            <a:ext cx="51745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345939" y="5683059"/>
            <a:ext cx="51745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E97F587D-D75D-4A24-AE8A-BC365E49382D}"/>
              </a:ext>
            </a:extLst>
          </p:cNvPr>
          <p:cNvSpPr/>
          <p:nvPr userDrawn="1"/>
        </p:nvSpPr>
        <p:spPr>
          <a:xfrm rot="292154">
            <a:off x="9126227" y="13973"/>
            <a:ext cx="1711524" cy="1994582"/>
          </a:xfrm>
          <a:custGeom>
            <a:avLst/>
            <a:gdLst>
              <a:gd name="connsiteX0" fmla="*/ 455195 w 1711524"/>
              <a:gd name="connsiteY0" fmla="*/ 13225 h 1994582"/>
              <a:gd name="connsiteX1" fmla="*/ 610432 w 1711524"/>
              <a:gd name="connsiteY1" fmla="*/ 0 h 1994582"/>
              <a:gd name="connsiteX2" fmla="*/ 1702131 w 1711524"/>
              <a:gd name="connsiteY2" fmla="*/ 1888442 h 1994582"/>
              <a:gd name="connsiteX3" fmla="*/ 1676414 w 1711524"/>
              <a:gd name="connsiteY3" fmla="*/ 1985189 h 1994582"/>
              <a:gd name="connsiteX4" fmla="*/ 1579666 w 1711524"/>
              <a:gd name="connsiteY4" fmla="*/ 1959471 h 1994582"/>
              <a:gd name="connsiteX5" fmla="*/ 0 w 1711524"/>
              <a:gd name="connsiteY5" fmla="*/ 52002 h 1994582"/>
              <a:gd name="connsiteX6" fmla="*/ 155252 w 1711524"/>
              <a:gd name="connsiteY6" fmla="*/ 38776 h 1994582"/>
              <a:gd name="connsiteX7" fmla="*/ 940403 w 1711524"/>
              <a:gd name="connsiteY7" fmla="*/ 1396136 h 1994582"/>
              <a:gd name="connsiteX8" fmla="*/ 914685 w 1711524"/>
              <a:gd name="connsiteY8" fmla="*/ 1492882 h 1994582"/>
              <a:gd name="connsiteX9" fmla="*/ 817938 w 1711524"/>
              <a:gd name="connsiteY9" fmla="*/ 1467165 h 199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1524" h="1994582">
                <a:moveTo>
                  <a:pt x="455195" y="13225"/>
                </a:moveTo>
                <a:lnTo>
                  <a:pt x="610432" y="0"/>
                </a:lnTo>
                <a:lnTo>
                  <a:pt x="1702131" y="1888442"/>
                </a:lnTo>
                <a:cubicBezTo>
                  <a:pt x="1721725" y="1922732"/>
                  <a:pt x="1709479" y="1965595"/>
                  <a:pt x="1676414" y="1985189"/>
                </a:cubicBezTo>
                <a:cubicBezTo>
                  <a:pt x="1642123" y="2004783"/>
                  <a:pt x="1599261" y="1992537"/>
                  <a:pt x="1579666" y="1959471"/>
                </a:cubicBezTo>
                <a:close/>
                <a:moveTo>
                  <a:pt x="0" y="52002"/>
                </a:moveTo>
                <a:lnTo>
                  <a:pt x="155252" y="38776"/>
                </a:lnTo>
                <a:lnTo>
                  <a:pt x="940403" y="1396136"/>
                </a:lnTo>
                <a:cubicBezTo>
                  <a:pt x="959997" y="1430426"/>
                  <a:pt x="947751" y="1473288"/>
                  <a:pt x="914685" y="1492882"/>
                </a:cubicBezTo>
                <a:cubicBezTo>
                  <a:pt x="880396" y="1512477"/>
                  <a:pt x="837533" y="1500230"/>
                  <a:pt x="817938" y="1467165"/>
                </a:cubicBezTo>
                <a:close/>
              </a:path>
            </a:pathLst>
          </a:custGeom>
          <a:solidFill>
            <a:schemeClr val="accent1"/>
          </a:solidFill>
          <a:ln w="1224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656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E06B80F0-B3A4-4591-A31C-C7085422BFF0}"/>
              </a:ext>
            </a:extLst>
          </p:cNvPr>
          <p:cNvGrpSpPr/>
          <p:nvPr userDrawn="1"/>
        </p:nvGrpSpPr>
        <p:grpSpPr>
          <a:xfrm>
            <a:off x="-4475" y="711200"/>
            <a:ext cx="12196476" cy="6146800"/>
            <a:chOff x="-4475" y="711200"/>
            <a:chExt cx="12196476" cy="6146800"/>
          </a:xfrm>
        </p:grpSpPr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74282363-1050-4C04-8816-EB6634A0BB64}"/>
                </a:ext>
              </a:extLst>
            </p:cNvPr>
            <p:cNvSpPr/>
            <p:nvPr userDrawn="1"/>
          </p:nvSpPr>
          <p:spPr>
            <a:xfrm flipH="1">
              <a:off x="-4475" y="711200"/>
              <a:ext cx="5174550" cy="6146800"/>
            </a:xfrm>
            <a:custGeom>
              <a:avLst/>
              <a:gdLst>
                <a:gd name="connsiteX0" fmla="*/ 1730139 w 5174550"/>
                <a:gd name="connsiteY0" fmla="*/ 0 h 6146800"/>
                <a:gd name="connsiteX1" fmla="*/ 785190 w 5174550"/>
                <a:gd name="connsiteY1" fmla="*/ 0 h 6146800"/>
                <a:gd name="connsiteX2" fmla="*/ 510939 w 5174550"/>
                <a:gd name="connsiteY2" fmla="*/ 0 h 6146800"/>
                <a:gd name="connsiteX3" fmla="*/ 434009 w 5174550"/>
                <a:gd name="connsiteY3" fmla="*/ 0 h 6146800"/>
                <a:gd name="connsiteX4" fmla="*/ 0 w 5174550"/>
                <a:gd name="connsiteY4" fmla="*/ 774522 h 6146800"/>
                <a:gd name="connsiteX5" fmla="*/ 3010401 w 5174550"/>
                <a:gd name="connsiteY5" fmla="*/ 6146800 h 6146800"/>
                <a:gd name="connsiteX6" fmla="*/ 3955350 w 5174550"/>
                <a:gd name="connsiteY6" fmla="*/ 6146800 h 6146800"/>
                <a:gd name="connsiteX7" fmla="*/ 4229601 w 5174550"/>
                <a:gd name="connsiteY7" fmla="*/ 6146800 h 6146800"/>
                <a:gd name="connsiteX8" fmla="*/ 5174550 w 5174550"/>
                <a:gd name="connsiteY8" fmla="*/ 6146800 h 614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74550" h="6146800">
                  <a:moveTo>
                    <a:pt x="1730139" y="0"/>
                  </a:moveTo>
                  <a:lnTo>
                    <a:pt x="785190" y="0"/>
                  </a:lnTo>
                  <a:lnTo>
                    <a:pt x="510939" y="0"/>
                  </a:lnTo>
                  <a:lnTo>
                    <a:pt x="434009" y="0"/>
                  </a:lnTo>
                  <a:lnTo>
                    <a:pt x="0" y="774522"/>
                  </a:lnTo>
                  <a:lnTo>
                    <a:pt x="3010401" y="6146800"/>
                  </a:lnTo>
                  <a:lnTo>
                    <a:pt x="3955350" y="6146800"/>
                  </a:lnTo>
                  <a:lnTo>
                    <a:pt x="4229601" y="6146800"/>
                  </a:lnTo>
                  <a:lnTo>
                    <a:pt x="5174550" y="6146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 dirty="0"/>
            </a:p>
          </p:txBody>
        </p:sp>
        <p:sp>
          <p:nvSpPr>
            <p:cNvPr id="10" name="Rectangle 2_2">
              <a:extLst>
                <a:ext uri="{FF2B5EF4-FFF2-40B4-BE49-F238E27FC236}">
                  <a16:creationId xmlns:a16="http://schemas.microsoft.com/office/drawing/2014/main" id="{FCBF4AA6-C61D-4EA2-A4B7-F78556734AAE}"/>
                </a:ext>
              </a:extLst>
            </p:cNvPr>
            <p:cNvSpPr/>
            <p:nvPr userDrawn="1"/>
          </p:nvSpPr>
          <p:spPr>
            <a:xfrm>
              <a:off x="0" y="1462175"/>
              <a:ext cx="12192000" cy="3322769"/>
            </a:xfrm>
            <a:prstGeom prst="rect">
              <a:avLst/>
            </a:prstGeom>
            <a:blipFill>
              <a:blip r:embed="rId2"/>
              <a:stretch>
                <a:fillRect t="-225861" b="-224141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F002836-03E3-4C94-AEA6-2407AC42F847}"/>
                </a:ext>
              </a:extLst>
            </p:cNvPr>
            <p:cNvSpPr/>
            <p:nvPr userDrawn="1"/>
          </p:nvSpPr>
          <p:spPr>
            <a:xfrm>
              <a:off x="5155368" y="1462175"/>
              <a:ext cx="7036633" cy="3322769"/>
            </a:xfrm>
            <a:custGeom>
              <a:avLst/>
              <a:gdLst>
                <a:gd name="connsiteX0" fmla="*/ 0 w 7036633"/>
                <a:gd name="connsiteY0" fmla="*/ 0 h 3322769"/>
                <a:gd name="connsiteX1" fmla="*/ 1888662 w 7036633"/>
                <a:gd name="connsiteY1" fmla="*/ 0 h 3322769"/>
                <a:gd name="connsiteX2" fmla="*/ 5508033 w 7036633"/>
                <a:gd name="connsiteY2" fmla="*/ 0 h 3322769"/>
                <a:gd name="connsiteX3" fmla="*/ 7036633 w 7036633"/>
                <a:gd name="connsiteY3" fmla="*/ 0 h 3322769"/>
                <a:gd name="connsiteX4" fmla="*/ 7036633 w 7036633"/>
                <a:gd name="connsiteY4" fmla="*/ 3322769 h 3322769"/>
                <a:gd name="connsiteX5" fmla="*/ 5508033 w 7036633"/>
                <a:gd name="connsiteY5" fmla="*/ 3322769 h 3322769"/>
                <a:gd name="connsiteX6" fmla="*/ 1888662 w 7036633"/>
                <a:gd name="connsiteY6" fmla="*/ 3322769 h 3322769"/>
                <a:gd name="connsiteX7" fmla="*/ 1861942 w 7036633"/>
                <a:gd name="connsiteY7" fmla="*/ 3322769 h 332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6633" h="3322769">
                  <a:moveTo>
                    <a:pt x="0" y="0"/>
                  </a:moveTo>
                  <a:lnTo>
                    <a:pt x="1888662" y="0"/>
                  </a:lnTo>
                  <a:lnTo>
                    <a:pt x="5508033" y="0"/>
                  </a:lnTo>
                  <a:lnTo>
                    <a:pt x="7036633" y="0"/>
                  </a:lnTo>
                  <a:lnTo>
                    <a:pt x="7036633" y="3322769"/>
                  </a:lnTo>
                  <a:lnTo>
                    <a:pt x="5508033" y="3322769"/>
                  </a:lnTo>
                  <a:lnTo>
                    <a:pt x="1888662" y="3322769"/>
                  </a:lnTo>
                  <a:lnTo>
                    <a:pt x="1861942" y="3322769"/>
                  </a:lnTo>
                  <a:close/>
                </a:path>
              </a:pathLst>
            </a:custGeom>
            <a:solidFill>
              <a:schemeClr val="tx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FF6CB9C7-C49E-4EC1-9C18-CB671ACE6AE1}"/>
                </a:ext>
              </a:extLst>
            </p:cNvPr>
            <p:cNvSpPr/>
            <p:nvPr userDrawn="1"/>
          </p:nvSpPr>
          <p:spPr>
            <a:xfrm>
              <a:off x="3515351" y="711200"/>
              <a:ext cx="3503186" cy="4075938"/>
            </a:xfrm>
            <a:custGeom>
              <a:avLst/>
              <a:gdLst>
                <a:gd name="connsiteX0" fmla="*/ 0 w 3503186"/>
                <a:gd name="connsiteY0" fmla="*/ 0 h 4075938"/>
                <a:gd name="connsiteX1" fmla="*/ 1219200 w 3503186"/>
                <a:gd name="connsiteY1" fmla="*/ 0 h 4075938"/>
                <a:gd name="connsiteX2" fmla="*/ 3503186 w 3503186"/>
                <a:gd name="connsiteY2" fmla="*/ 4075938 h 4075938"/>
                <a:gd name="connsiteX3" fmla="*/ 2283986 w 3503186"/>
                <a:gd name="connsiteY3" fmla="*/ 4075938 h 4075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3186" h="4075938">
                  <a:moveTo>
                    <a:pt x="0" y="0"/>
                  </a:moveTo>
                  <a:lnTo>
                    <a:pt x="1219200" y="0"/>
                  </a:lnTo>
                  <a:lnTo>
                    <a:pt x="3503186" y="4075938"/>
                  </a:lnTo>
                  <a:lnTo>
                    <a:pt x="2283986" y="407593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 dirty="0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64300" y="1582058"/>
            <a:ext cx="5056981" cy="2364686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629523" y="4386848"/>
            <a:ext cx="389175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7629525" y="4090577"/>
            <a:ext cx="389175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425731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9737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altLang="zh-CN" smtClean="0"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1712490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2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609600" y="274638"/>
            <a:ext cx="10972800" cy="531495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grpSp>
        <p:nvGrpSpPr>
          <p:cNvPr id="7" name="组合 2"/>
          <p:cNvGrpSpPr/>
          <p:nvPr userDrawn="1"/>
        </p:nvGrpSpPr>
        <p:grpSpPr>
          <a:xfrm>
            <a:off x="0" y="679743"/>
            <a:ext cx="12192000" cy="60959"/>
            <a:chOff x="285720" y="998520"/>
            <a:chExt cx="8429684" cy="73026"/>
          </a:xfrm>
        </p:grpSpPr>
        <p:cxnSp>
          <p:nvCxnSpPr>
            <p:cNvPr id="8" name="直接连接符 7"/>
            <p:cNvCxnSpPr/>
            <p:nvPr/>
          </p:nvCxnSpPr>
          <p:spPr>
            <a:xfrm>
              <a:off x="285720" y="998520"/>
              <a:ext cx="8429684" cy="1588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/>
          </p:nvCxnSpPr>
          <p:spPr>
            <a:xfrm>
              <a:off x="285720" y="1069958"/>
              <a:ext cx="8429684" cy="1588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0" name="矩形 9">
            <a:extLst>
              <a:ext uri="{FF2B5EF4-FFF2-40B4-BE49-F238E27FC236}">
                <a16:creationId xmlns:a16="http://schemas.microsoft.com/office/drawing/2014/main" id="{626F3D86-D6A5-4DD0-99B5-B4BE9AE16878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3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  <a:prstGeom prst="rect">
            <a:avLst/>
          </a:prstGeom>
        </p:spPr>
        <p:txBody>
          <a:bodyPr/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36213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5101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092559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2617296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1934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48DE95B4-AE0C-7EEC-4C08-E3F3FC75B62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4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id="{A5A449F4-9A94-8C4C-4BB5-56A0788520E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1C9440-2E33-5BEB-02DF-A72A9F978542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FFFFFF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164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E9319D93-67E5-3125-DE64-EF38FC49176D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id="{49DCFADA-E657-B5E1-FD02-3EAE71B0B1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FB2DC48-2E93-B5D0-AE24-7D15D595E22D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70132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CFE344FE-1712-3FFF-06CE-C147066E9773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6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id="{84CD5428-F77F-F979-825C-E800A8F606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2104ED9-280F-79FF-2AD0-B60FA9277C17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54841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70D9E999-82D5-ED7E-3EBD-A8B9A6F5C16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id="{AEC97D98-7F65-AB3D-9AF6-276DAA7102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D0D1C03-9540-24DB-8636-D0DF1E638050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14659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11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heme" Target="../theme/theme2.xml"/><Relationship Id="rId24" Type="http://schemas.openxmlformats.org/officeDocument/2006/relationships/tags" Target="../tags/tag13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14.xml"/><Relationship Id="rId19" Type="http://schemas.openxmlformats.org/officeDocument/2006/relationships/tags" Target="../tags/tag8.xml"/><Relationship Id="rId31" Type="http://schemas.openxmlformats.org/officeDocument/2006/relationships/tags" Target="../tags/tag20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8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6" descr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32438" y="6245667"/>
            <a:ext cx="1824205" cy="4192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5" name="组合 2"/>
          <p:cNvGrpSpPr/>
          <p:nvPr/>
        </p:nvGrpSpPr>
        <p:grpSpPr>
          <a:xfrm>
            <a:off x="-3" y="679743"/>
            <a:ext cx="12192004" cy="60960"/>
            <a:chOff x="-1" y="0"/>
            <a:chExt cx="9144002" cy="45719"/>
          </a:xfrm>
        </p:grpSpPr>
        <p:sp>
          <p:nvSpPr>
            <p:cNvPr id="3" name="直接连接符 14"/>
            <p:cNvSpPr/>
            <p:nvPr/>
          </p:nvSpPr>
          <p:spPr>
            <a:xfrm>
              <a:off x="-2" y="0"/>
              <a:ext cx="9144003" cy="995"/>
            </a:xfrm>
            <a:prstGeom prst="line">
              <a:avLst/>
            </a:prstGeom>
            <a:noFill/>
            <a:ln w="19050" cap="flat">
              <a:solidFill>
                <a:srgbClr val="C0000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2400"/>
            </a:p>
          </p:txBody>
        </p:sp>
        <p:sp>
          <p:nvSpPr>
            <p:cNvPr id="4" name="直接连接符 15"/>
            <p:cNvSpPr/>
            <p:nvPr/>
          </p:nvSpPr>
          <p:spPr>
            <a:xfrm>
              <a:off x="-2" y="44725"/>
              <a:ext cx="9144003" cy="995"/>
            </a:xfrm>
            <a:prstGeom prst="line">
              <a:avLst/>
            </a:prstGeom>
            <a:noFill/>
            <a:ln w="19050" cap="flat">
              <a:solidFill>
                <a:srgbClr val="C0000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2400"/>
            </a:p>
          </p:txBody>
        </p:sp>
      </p:grpSp>
      <p:sp>
        <p:nvSpPr>
          <p:cNvPr id="6" name="正文级别 1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7" name="标题文本"/>
          <p:cNvSpPr txBox="1">
            <a:spLocks noGrp="1"/>
          </p:cNvSpPr>
          <p:nvPr>
            <p:ph type="title"/>
          </p:nvPr>
        </p:nvSpPr>
        <p:spPr>
          <a:xfrm>
            <a:off x="1826684" y="1371600"/>
            <a:ext cx="9753601" cy="465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8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570102" y="6309319"/>
            <a:ext cx="440213" cy="417855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>
            <a:spAutoFit/>
          </a:bodyPr>
          <a:lstStyle>
            <a:lvl1pPr algn="ctr">
              <a:defRPr sz="2133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0C8A2F2A-3C72-7804-2092-3D4551300A51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C0BE011F-3B26-B913-81F3-DADAC585866A}"/>
              </a:ext>
            </a:extLst>
          </p:cNvPr>
          <p:cNvSpPr txBox="1">
            <a:spLocks/>
          </p:cNvSpPr>
          <p:nvPr userDrawn="1"/>
        </p:nvSpPr>
        <p:spPr>
          <a:xfrm>
            <a:off x="11844715" y="6371039"/>
            <a:ext cx="373175" cy="369327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1pPr>
            <a:lvl2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0C913308-F349-4B6D-A68A-DD1791B4A57B}" type="slidenum">
              <a:rPr lang="zh-CN" altLang="en-US" sz="1600" smtClean="0"/>
              <a:pPr/>
              <a:t>‹#›</a:t>
            </a:fld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20202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688" r:id="rId4"/>
  </p:sldLayoutIdLst>
  <p:transition spd="med"/>
  <p:hf hdr="0" ftr="0" dt="0"/>
  <p:txStyles>
    <p:titleStyle>
      <a:lvl1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457189" marR="0" indent="-457189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045002" marR="0" indent="-435417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–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625559" marR="0" indent="-406390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316422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–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926007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»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535592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145176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4754760" marR="0" indent="-487666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364345" marR="0" indent="-487666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3" imgH="416" progId="TCLayout.ActiveDocument.1">
                  <p:embed/>
                </p:oleObj>
              </mc:Choice>
              <mc:Fallback>
                <p:oleObj name="think-cell Slide" r:id="rId3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554736" y="172212"/>
            <a:ext cx="9121699" cy="54541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 err="1">
                <a:solidFill>
                  <a:srgbClr val="000000"/>
                </a:solidFill>
              </a:rPr>
              <a:t>AboveChartExhibitTitle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b="0" dirty="0" err="1">
                <a:solidFill>
                  <a:srgbClr val="000000"/>
                </a:solidFill>
              </a:rPr>
              <a:t>UnitofMeasure</a:t>
            </a: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id="{13057103-D115-DADA-2EB0-0FCD59AB2391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id="{E40D27A3-1978-B2BA-3C27-66E19A7F7894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id="{FD94417F-B0A4-94B9-111E-0C392E9AACA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id="{39A3A972-E563-B79B-BADB-8F3B17730D90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id="{6F3943BA-41BD-9DDA-0BFB-43336609183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id="{AE8AB6FF-872C-5D81-8C7B-176A9AAE8E2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id="{AC4D128D-6CEA-3945-3844-F5AAE1B168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id="{3371E374-0BA4-5B34-0757-CFCCD235A60F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id="{756BFF61-0575-9FA8-E44E-360FD7B1F6CF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id="{DEFD1EC6-663F-2BA2-0DF6-3756FCE6888D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id="{001274AD-256D-2E4A-613A-50A341751E74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id="{6D9DC179-B308-2F79-8255-CB9BD67BE615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id="{5C9EBC3F-1C5A-EBC4-7D40-320412B4A9E4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id="{049C7414-BE95-0191-B349-1615B80842B3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id="{BEB9D1A0-FA07-9C2B-3185-AEA748F773F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id="{95AC73D0-BB80-C586-8704-4CFB89103A6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id="{727AAED1-383E-4C4A-DF0C-0BF7A02D8948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id="{D018C4B7-86A0-3B18-C221-FFEC7E84E54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id="{FD435453-8EFE-2A6C-3650-15040DB209D1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id="{1CC33BAC-DE32-D2A0-4AD9-F923A9CB60A5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id="{6E33E2B0-FC0B-B53A-8A62-4CC1A84A9B70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id="{A545051D-4B10-B9D8-6C55-A2364F0F90C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id="{379404D8-D7C1-5751-C53C-AD85305E529D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id="{FBA4E0A2-7BE8-8927-DEBA-9ED5E9CDD7CB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id="{E1DC12A8-1993-A2C7-9737-76BD7881BAE2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id="{0F48F81E-C38C-8B4D-B09D-BBEB9CD13CDE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id="{1E84E310-6B41-86BA-63F9-CC514DF7C1F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id="{1DB782AB-D0B5-CA20-6A2A-1A5B028C33AD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id="{118ED783-9E8B-2463-AF07-BF6B2F41FC3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id="{F441E6F5-13B9-B8AC-F77E-5982D9E6A5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id="{2095D635-9511-7425-8AC0-1A4D07998787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id="{9C55D2FB-82E2-00AC-9AFD-36EAB173B21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id="{4D167DFF-781B-D46B-BC77-AF67CC9A5C2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id="{F3C9CA53-6BB2-147F-F865-C7E3AB5D93F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id="{DE188F18-893F-B452-903B-9BF577919B33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id="{7C18555F-998D-AE1F-95D2-115C438ECB01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id="{7D7F2664-3266-C5DE-E6FD-CCCD0AA53D8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id="{7D5D248B-157A-9419-8F59-43424C03BB46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id="{82DAF5B6-8D72-E061-572D-7ECA5007BB45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8869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图片 2" descr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46" name="图片 9" descr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106" y="5924362"/>
            <a:ext cx="3218599" cy="741543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文本框 4"/>
          <p:cNvSpPr txBox="1"/>
          <p:nvPr/>
        </p:nvSpPr>
        <p:spPr>
          <a:xfrm>
            <a:off x="5189668" y="3059102"/>
            <a:ext cx="1812670" cy="12311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60957" tIns="60957" rIns="60957" bIns="60957">
            <a:spAutoFit/>
          </a:bodyPr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资产配置部</a:t>
            </a:r>
            <a:endParaRPr kumimoji="0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2025.11.17</a:t>
            </a:r>
          </a:p>
        </p:txBody>
      </p:sp>
      <p:sp>
        <p:nvSpPr>
          <p:cNvPr id="49" name="文本框 8"/>
          <p:cNvSpPr txBox="1"/>
          <p:nvPr/>
        </p:nvSpPr>
        <p:spPr>
          <a:xfrm>
            <a:off x="7502302" y="5925278"/>
            <a:ext cx="4534569" cy="656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60957" tIns="60957" rIns="60957" bIns="60957">
            <a:spAutoFit/>
          </a:bodyPr>
          <a:lstStyle/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u="sng">
                <a:solidFill>
                  <a:srgbClr val="262626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1067" b="0" i="0" u="sng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阅读本文档即被视认为同意遵守以下条款</a:t>
            </a:r>
            <a:endParaRPr kumimoji="0" sz="1067" b="0" i="0" u="sng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百年保险资管对提交的所有文档享有全部著作权和邻接权，对未经本公司书面许可擅自改编、复制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模仿、剽窃、抄袭或为牟利而以其他方式使用上述作品内容的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本公司讲严格追究侵权者的法律责任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9106" y="1851685"/>
            <a:ext cx="11544300" cy="77975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2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宏观因子择时模型与情绪指标择时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1FF4F01-2D3D-4BD3-91BA-81FB1D5E927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5947676" y="8568419"/>
            <a:ext cx="206143" cy="338550"/>
          </a:xfrm>
        </p:spPr>
        <p:txBody>
          <a:bodyPr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altLang="zh-CN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ctr" defTabSz="325111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zh-CN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710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676385-3BCA-B757-F4E0-2D2455F1A1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0F2CA73-1ACF-757A-55E3-F61C02469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4943BB4E-78C4-9B49-8AE0-43F21A3821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跌停数量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6179439-BCD8-7D02-463C-4C726D04F82B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跌停数量占比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0.04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中性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660145C-26EF-E661-2056-DFDE91E802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40732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F62C43-D645-B15D-48E7-8435E0845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5B4A9FD-90E2-C822-DB5D-DC4D2116F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695355BC-5110-3FDD-8503-91652B26FD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两融成交额占比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8FB86F2-A7D7-1C1A-1FBC-589C2C95E4B5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两融成交额占比分位数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85.9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最新信号为中性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8EAB9AD-BA00-84B2-F956-55545FDBED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13848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979A6E-BC3B-7B6A-92F9-1EEC9F8D72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D81159F-DA23-4CDB-7791-A05CF7BAB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F910461C-0711-E172-5880-37CDA78B79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融资净买入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673CB886-8021-B1A3-19CD-3718F77C16F7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融资净买入分位数为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2.5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看多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5231F05-F9B8-6A55-BD56-F55A12D94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385887"/>
            <a:ext cx="1036320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6947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FEECDC-F511-A52D-14B8-9EA593F9F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8B8CE3E-369D-3849-34D8-BEAA3F449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7CA46D70-8AAF-BE3A-E5A9-433A3412B5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陆股通成交额占比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F8B0183-D030-83C2-F069-185CD2BACC6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陆股通成交额占比分位数为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2.4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强烈看空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1D8B970-2F16-5702-8A14-1ABCCD3DD1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76093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4243E1-4F1F-FE9F-B3C4-4836B8882A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5358526-7886-86FD-0EDD-1C33B66D8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F1827992-2BC1-3100-34B3-F3F6383BA7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30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日</a:t>
            </a: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RSI</a:t>
            </a:r>
            <a:endParaRPr lang="zh-CN" altLang="en-US" sz="2667" b="1" kern="0" dirty="0">
              <a:solidFill>
                <a:srgbClr val="C00000"/>
              </a:solidFill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38889BB0-F196-8FCE-B3FD-815E89CA1258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0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日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RSI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58.84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信号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为小幅看空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71DCD988-919E-809D-B3FD-9224434DBD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84925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0DC80-1BE5-55EB-A331-7DDAAD663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3C0563F-F841-D4B0-40E8-D07349590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5A55AD09-04E7-65EE-DB6E-182FCB5BBF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股权风险溢价</a:t>
            </a: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ERP</a:t>
            </a:r>
            <a:endParaRPr lang="zh-CN" altLang="en-US" sz="2667" b="1" kern="0" dirty="0">
              <a:solidFill>
                <a:srgbClr val="C00000"/>
              </a:solidFill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336D3B1-79D5-ABE7-952E-9C858CAF439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上证指数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ERP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4.19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信号为看空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F7E73F2-5D08-1562-17AB-871EB74493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385887"/>
            <a:ext cx="1036320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1107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337D34-83D0-CE84-30E9-06F6D92889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89A8487-B749-D9A0-C4CF-2CAAFADE2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47999" y="6007145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43A77532-6C60-8E74-5F60-267D36C6FB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当前宏观择时模型维持看多，情绪择时模型转为看空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0F5529F-3471-6062-E490-335E012F2CC9}"/>
              </a:ext>
            </a:extLst>
          </p:cNvPr>
          <p:cNvSpPr/>
          <p:nvPr/>
        </p:nvSpPr>
        <p:spPr>
          <a:xfrm>
            <a:off x="408576" y="1816563"/>
            <a:ext cx="5400000" cy="2416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宏观择时模型得分为</a:t>
            </a:r>
            <a:r>
              <a:rPr kumimoji="1" lang="en-US" altLang="zh-CN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74.6%</a:t>
            </a: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，信号为看多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EF6828B-FE48-28FA-CB96-7CE65429B576}"/>
              </a:ext>
            </a:extLst>
          </p:cNvPr>
          <p:cNvSpPr/>
          <p:nvPr/>
        </p:nvSpPr>
        <p:spPr>
          <a:xfrm>
            <a:off x="6360819" y="1816563"/>
            <a:ext cx="5400000" cy="2416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情绪择时指标得分为</a:t>
            </a:r>
            <a:r>
              <a:rPr kumimoji="1" lang="en-US" altLang="zh-CN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-1.48</a:t>
            </a: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，信号转为看空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CDA1DD6-1993-F4B2-9FC8-68197E257036}"/>
              </a:ext>
            </a:extLst>
          </p:cNvPr>
          <p:cNvSpPr txBox="1"/>
          <p:nvPr/>
        </p:nvSpPr>
        <p:spPr>
          <a:xfrm>
            <a:off x="52004" y="2727098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多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AA3CCBA-4630-1182-9BD0-F5ADD88E70CB}"/>
              </a:ext>
            </a:extLst>
          </p:cNvPr>
          <p:cNvSpPr txBox="1"/>
          <p:nvPr/>
        </p:nvSpPr>
        <p:spPr>
          <a:xfrm>
            <a:off x="172001" y="3080570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多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7CC311B-D64D-5311-28B9-9F163C19B1AB}"/>
              </a:ext>
            </a:extLst>
          </p:cNvPr>
          <p:cNvSpPr txBox="1"/>
          <p:nvPr/>
        </p:nvSpPr>
        <p:spPr>
          <a:xfrm>
            <a:off x="156010" y="3628184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中性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CEB8ED70-EFD3-2EF1-F19E-958053670E79}"/>
              </a:ext>
            </a:extLst>
          </p:cNvPr>
          <p:cNvSpPr txBox="1"/>
          <p:nvPr/>
        </p:nvSpPr>
        <p:spPr>
          <a:xfrm>
            <a:off x="177106" y="4244662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空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3891ADD-D734-C799-19C0-C0635ED5C06E}"/>
              </a:ext>
            </a:extLst>
          </p:cNvPr>
          <p:cNvSpPr txBox="1"/>
          <p:nvPr/>
        </p:nvSpPr>
        <p:spPr>
          <a:xfrm>
            <a:off x="58226" y="466007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空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0437085-CB7D-D8E8-44D2-9FD057892314}"/>
              </a:ext>
            </a:extLst>
          </p:cNvPr>
          <p:cNvSpPr txBox="1"/>
          <p:nvPr/>
        </p:nvSpPr>
        <p:spPr>
          <a:xfrm>
            <a:off x="6018716" y="252799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多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41488039-63C0-C401-5A89-8E3860F0F291}"/>
              </a:ext>
            </a:extLst>
          </p:cNvPr>
          <p:cNvSpPr txBox="1"/>
          <p:nvPr/>
        </p:nvSpPr>
        <p:spPr>
          <a:xfrm>
            <a:off x="6210059" y="311521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多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16392334-05A5-CC01-9975-D1A3F510F9B8}"/>
              </a:ext>
            </a:extLst>
          </p:cNvPr>
          <p:cNvSpPr txBox="1"/>
          <p:nvPr/>
        </p:nvSpPr>
        <p:spPr>
          <a:xfrm>
            <a:off x="6176916" y="3497381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中性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89EFA3B8-C7F1-D0A3-C861-DF76DE64F9AB}"/>
              </a:ext>
            </a:extLst>
          </p:cNvPr>
          <p:cNvSpPr txBox="1"/>
          <p:nvPr/>
        </p:nvSpPr>
        <p:spPr>
          <a:xfrm>
            <a:off x="6217703" y="4016299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空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14C53FD-6FD6-D8EE-DC12-4634389AE903}"/>
              </a:ext>
            </a:extLst>
          </p:cNvPr>
          <p:cNvSpPr txBox="1"/>
          <p:nvPr/>
        </p:nvSpPr>
        <p:spPr>
          <a:xfrm>
            <a:off x="6073218" y="4529270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空</a:t>
            </a:r>
          </a:p>
        </p:txBody>
      </p:sp>
      <p:graphicFrame>
        <p:nvGraphicFramePr>
          <p:cNvPr id="18" name="图表 17">
            <a:extLst>
              <a:ext uri="{FF2B5EF4-FFF2-40B4-BE49-F238E27FC236}">
                <a16:creationId xmlns:a16="http://schemas.microsoft.com/office/drawing/2014/main" id="{C3FC4BE8-7D9D-43E6-96F4-56C4C98427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0234794"/>
              </p:ext>
            </p:extLst>
          </p:nvPr>
        </p:nvGraphicFramePr>
        <p:xfrm>
          <a:off x="6560409" y="2213663"/>
          <a:ext cx="5376455" cy="3352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图表 18">
            <a:extLst>
              <a:ext uri="{FF2B5EF4-FFF2-40B4-BE49-F238E27FC236}">
                <a16:creationId xmlns:a16="http://schemas.microsoft.com/office/drawing/2014/main" id="{E5C0E6F9-6F12-B3AE-0BC3-3FE589ED50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9564023"/>
              </p:ext>
            </p:extLst>
          </p:nvPr>
        </p:nvGraphicFramePr>
        <p:xfrm>
          <a:off x="522351" y="2349188"/>
          <a:ext cx="4577443" cy="3081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4598676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F636E0-9AEC-280D-12D7-0D65916741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84842CE-51AD-E7C4-0F86-A65B40BE8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73908280-1772-7C46-5F59-01B1DD9E1C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信号为小幅看多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AA751AB-99E3-C27B-A6C3-022267270580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以组合仓位作为综合择时信号，当前综合信号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在周二升至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55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；组合实际仓位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49.06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上周并未进行调仓。</a:t>
            </a: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06081E3-E253-CAD0-0660-972EDC58DB6A}"/>
              </a:ext>
            </a:extLst>
          </p:cNvPr>
          <p:cNvSpPr txBox="1"/>
          <p:nvPr/>
        </p:nvSpPr>
        <p:spPr>
          <a:xfrm>
            <a:off x="113007" y="6033011"/>
            <a:ext cx="9834463" cy="12003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注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综合择时指标以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股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债作为配置基准，宏观因子择时模型生成初始仓位：强烈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8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6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中性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强烈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；再根据情绪择时指标小幅调整仓位：强烈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1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中性不调整，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强烈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1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因此信号仓位区间在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0%-9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.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在具体回测时，我们跳过了调仓幅度小于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的调仓信号；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-5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准每年进行再平衡</a:t>
            </a:r>
          </a:p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zh-CN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AB1049E-439D-CBC8-92B7-0EC7796C86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8972" y="1813676"/>
            <a:ext cx="9154055" cy="3862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74827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4B3ADB-2BFB-B701-B8B4-122929BC31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92F12D9-71E0-8C7F-1625-688E2526D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06B52891-C0DB-DF79-FA38-D26ABFDAB4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指标策略收益率情况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2EA50494-FA58-4A7B-2F57-4AF533607EB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近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个交易日，组合总收益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0.33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与基准基本持平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3D0F123-FDC0-2835-9BF6-E9CA6CAE1C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94" y="3027815"/>
            <a:ext cx="5630061" cy="160995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0438AB9A-6079-3F49-0B20-3E71B2B16F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8425" y="1795462"/>
            <a:ext cx="5334000" cy="3933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00871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71B96-7B27-72AF-8BF9-B83BCD16E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6EE656F-21A5-6BB4-BDC8-F0179CA79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7896BBEA-0F74-06A4-E2E1-41005305A8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指标策略长周期结果展示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2AAF50B1-C286-7D3D-1A15-72D0E9FBD744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自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20.4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以来的总收益率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80.49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最大回撤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7.44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夏普比率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14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396C0C2-2EE9-03F7-82D0-CB26B243EC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173" y="2399078"/>
            <a:ext cx="2876951" cy="2867425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47378926-F0EC-EC7A-D0B1-F6A931115D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7448" y="2270660"/>
            <a:ext cx="4243397" cy="3124259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0F426F4F-79EC-F7D6-B581-AB1E2E962F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1606" y="2270660"/>
            <a:ext cx="4411221" cy="3214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69156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CE5000-A238-1296-0211-601303B3B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>
            <a:extLst>
              <a:ext uri="{FF2B5EF4-FFF2-40B4-BE49-F238E27FC236}">
                <a16:creationId xmlns:a16="http://schemas.microsoft.com/office/drawing/2014/main" id="{59D6071C-8924-FB2F-63ED-C30A88AC40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667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宏观因子择时模型细项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EB7E744-E9BC-D5BA-BEC6-B589B8A03DC6}"/>
              </a:ext>
            </a:extLst>
          </p:cNvPr>
          <p:cNvSpPr txBox="1"/>
          <p:nvPr/>
        </p:nvSpPr>
        <p:spPr>
          <a:xfrm>
            <a:off x="225083" y="934505"/>
            <a:ext cx="11774659" cy="7925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宏观因子择时模型打分高位回落，缘于高频经济指标回落：</a:t>
            </a:r>
            <a:r>
              <a:rPr kumimoji="0" lang="zh-CN" altLang="en-US" sz="14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一方面月中出口脉冲回落转平，另一方面双十一结束商品消费转平。地产、基建、生产变化不大，均是低位震荡；其中，上游生产有止跌趋势，或反映生产对应的订单需求尚可。</a:t>
            </a:r>
            <a:endParaRPr kumimoji="0" lang="en-US" altLang="zh-CN" sz="14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" name="图表 1">
            <a:extLst>
              <a:ext uri="{FF2B5EF4-FFF2-40B4-BE49-F238E27FC236}">
                <a16:creationId xmlns:a16="http://schemas.microsoft.com/office/drawing/2014/main" id="{23E61066-D394-4C6F-B040-E0F63CAC6C62}"/>
              </a:ext>
            </a:extLst>
          </p:cNvPr>
          <p:cNvGraphicFramePr>
            <a:graphicFrameLocks/>
          </p:cNvGraphicFramePr>
          <p:nvPr/>
        </p:nvGraphicFramePr>
        <p:xfrm>
          <a:off x="605400" y="3062356"/>
          <a:ext cx="5603299" cy="3192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id="{ABD635B0-3E08-4D75-A334-78ACD29E434D}"/>
              </a:ext>
            </a:extLst>
          </p:cNvPr>
          <p:cNvGraphicFramePr>
            <a:graphicFrameLocks/>
          </p:cNvGraphicFramePr>
          <p:nvPr/>
        </p:nvGraphicFramePr>
        <p:xfrm>
          <a:off x="6313302" y="3062356"/>
          <a:ext cx="5166394" cy="3192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46295543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D191E-15DB-1141-7B24-C005E1F4AB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5A9678E-525F-3AB4-EEAA-FEE973109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A08E28DA-8F7E-E474-FCFF-70C441F501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情绪择时指标细项情况</a:t>
            </a: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B60D5A1F-25F2-B037-7754-1C7840E7D0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4983360"/>
              </p:ext>
            </p:extLst>
          </p:nvPr>
        </p:nvGraphicFramePr>
        <p:xfrm>
          <a:off x="634906" y="2053834"/>
          <a:ext cx="5106800" cy="3149750"/>
        </p:xfrm>
        <a:graphic>
          <a:graphicData uri="http://schemas.openxmlformats.org/drawingml/2006/table">
            <a:tbl>
              <a:tblPr/>
              <a:tblGrid>
                <a:gridCol w="4252355">
                  <a:extLst>
                    <a:ext uri="{9D8B030D-6E8A-4147-A177-3AD203B41FA5}">
                      <a16:colId xmlns:a16="http://schemas.microsoft.com/office/drawing/2014/main" val="1779177242"/>
                    </a:ext>
                  </a:extLst>
                </a:gridCol>
                <a:gridCol w="854445">
                  <a:extLst>
                    <a:ext uri="{9D8B030D-6E8A-4147-A177-3AD203B41FA5}">
                      <a16:colId xmlns:a16="http://schemas.microsoft.com/office/drawing/2014/main" val="1318616992"/>
                    </a:ext>
                  </a:extLst>
                </a:gridCol>
              </a:tblGrid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情绪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793550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日均线上方个股占比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中性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640045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涨跌停数量占比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中性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7560330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资金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2572218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融资融券情况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小幅看多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094580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陆股通交易额占比历史分位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强烈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595373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技术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8908227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RSI（3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日）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小幅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602381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估值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1687134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股权风险溢价</a:t>
                      </a:r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RP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7154910"/>
                  </a:ext>
                </a:extLst>
              </a:tr>
            </a:tbl>
          </a:graphicData>
        </a:graphic>
      </p:graphicFrame>
      <p:grpSp>
        <p:nvGrpSpPr>
          <p:cNvPr id="28" name="组合 27">
            <a:extLst>
              <a:ext uri="{FF2B5EF4-FFF2-40B4-BE49-F238E27FC236}">
                <a16:creationId xmlns:a16="http://schemas.microsoft.com/office/drawing/2014/main" id="{B36AC4DD-812D-F2C2-2CBA-51B0A71855FF}"/>
              </a:ext>
            </a:extLst>
          </p:cNvPr>
          <p:cNvGrpSpPr/>
          <p:nvPr/>
        </p:nvGrpSpPr>
        <p:grpSpPr>
          <a:xfrm>
            <a:off x="698594" y="980916"/>
            <a:ext cx="10858500" cy="4896168"/>
            <a:chOff x="655546" y="1162024"/>
            <a:chExt cx="10858500" cy="4896168"/>
          </a:xfrm>
        </p:grpSpPr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id="{0ADAAA48-03C9-6221-77DC-48FE87DBB7A3}"/>
                </a:ext>
              </a:extLst>
            </p:cNvPr>
            <p:cNvGrpSpPr/>
            <p:nvPr/>
          </p:nvGrpSpPr>
          <p:grpSpPr>
            <a:xfrm>
              <a:off x="779464" y="1669970"/>
              <a:ext cx="10619804" cy="4388222"/>
              <a:chOff x="779464" y="1903769"/>
              <a:chExt cx="10619804" cy="4388222"/>
            </a:xfrm>
          </p:grpSpPr>
          <p:sp>
            <p:nvSpPr>
              <p:cNvPr id="31" name="矩形 30">
                <a:extLst>
                  <a:ext uri="{FF2B5EF4-FFF2-40B4-BE49-F238E27FC236}">
                    <a16:creationId xmlns:a16="http://schemas.microsoft.com/office/drawing/2014/main" id="{1CD8FFEB-1269-E04D-E254-CB2D2EEB76B0}"/>
                  </a:ext>
                </a:extLst>
              </p:cNvPr>
              <p:cNvSpPr/>
              <p:nvPr/>
            </p:nvSpPr>
            <p:spPr bwMode="auto">
              <a:xfrm>
                <a:off x="779464" y="4690159"/>
                <a:ext cx="3247529" cy="9550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id="{2606814A-AA4C-71F1-4E90-FDD53AAEEDC8}"/>
                  </a:ext>
                </a:extLst>
              </p:cNvPr>
              <p:cNvSpPr/>
              <p:nvPr/>
            </p:nvSpPr>
            <p:spPr bwMode="auto">
              <a:xfrm flipH="1">
                <a:off x="8151739" y="3132192"/>
                <a:ext cx="3247529" cy="9484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id="{2AD8E901-A8A3-8761-68E7-2CDD5148ECBC}"/>
                  </a:ext>
                </a:extLst>
              </p:cNvPr>
              <p:cNvSpPr/>
              <p:nvPr/>
            </p:nvSpPr>
            <p:spPr bwMode="auto">
              <a:xfrm flipH="1">
                <a:off x="8107753" y="4828889"/>
                <a:ext cx="3247529" cy="14631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grpSp>
            <p:nvGrpSpPr>
              <p:cNvPr id="34" name="组合 33">
                <a:extLst>
                  <a:ext uri="{FF2B5EF4-FFF2-40B4-BE49-F238E27FC236}">
                    <a16:creationId xmlns:a16="http://schemas.microsoft.com/office/drawing/2014/main" id="{50BC34E8-55F3-BF55-B533-49E7A5203148}"/>
                  </a:ext>
                </a:extLst>
              </p:cNvPr>
              <p:cNvGrpSpPr/>
              <p:nvPr/>
            </p:nvGrpSpPr>
            <p:grpSpPr>
              <a:xfrm>
                <a:off x="6706858" y="1903769"/>
                <a:ext cx="4376164" cy="4375349"/>
                <a:chOff x="6757354" y="1027290"/>
                <a:chExt cx="4842800" cy="4841898"/>
              </a:xfrm>
            </p:grpSpPr>
            <p:grpSp>
              <p:nvGrpSpPr>
                <p:cNvPr id="35" name="组合 34">
                  <a:extLst>
                    <a:ext uri="{FF2B5EF4-FFF2-40B4-BE49-F238E27FC236}">
                      <a16:creationId xmlns:a16="http://schemas.microsoft.com/office/drawing/2014/main" id="{FB3C6D98-E3B4-0559-76EA-DB8D45EA2141}"/>
                    </a:ext>
                  </a:extLst>
                </p:cNvPr>
                <p:cNvGrpSpPr/>
                <p:nvPr/>
              </p:nvGrpSpPr>
              <p:grpSpPr>
                <a:xfrm>
                  <a:off x="7362970" y="1027290"/>
                  <a:ext cx="2473570" cy="2508963"/>
                  <a:chOff x="7362970" y="1027290"/>
                  <a:chExt cx="2473570" cy="2508963"/>
                </a:xfrm>
              </p:grpSpPr>
              <p:sp>
                <p:nvSpPr>
                  <p:cNvPr id="45" name="任意多边形: 形状 44">
                    <a:extLst>
                      <a:ext uri="{FF2B5EF4-FFF2-40B4-BE49-F238E27FC236}">
                        <a16:creationId xmlns:a16="http://schemas.microsoft.com/office/drawing/2014/main" id="{85E360D2-7264-0F47-5CBA-71B0E85B679D}"/>
                      </a:ext>
                    </a:extLst>
                  </p:cNvPr>
                  <p:cNvSpPr/>
                  <p:nvPr/>
                </p:nvSpPr>
                <p:spPr bwMode="auto">
                  <a:xfrm rot="19397468">
                    <a:off x="7362970" y="1027290"/>
                    <a:ext cx="2473570" cy="2508963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C30F1B">
                          <a:lumMod val="60000"/>
                          <a:lumOff val="40000"/>
                        </a:srgbClr>
                      </a:gs>
                      <a:gs pos="75000">
                        <a:srgbClr val="C30F1B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BA9873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6" name="文本框 45">
                    <a:extLst>
                      <a:ext uri="{FF2B5EF4-FFF2-40B4-BE49-F238E27FC236}">
                        <a16:creationId xmlns:a16="http://schemas.microsoft.com/office/drawing/2014/main" id="{662B80D9-F37C-88C9-92B1-874923565C55}"/>
                      </a:ext>
                    </a:extLst>
                  </p:cNvPr>
                  <p:cNvSpPr txBox="1"/>
                  <p:nvPr/>
                </p:nvSpPr>
                <p:spPr>
                  <a:xfrm>
                    <a:off x="8250940" y="1773940"/>
                    <a:ext cx="697627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S</a:t>
                    </a:r>
                    <a:r>
                      <a:rPr kumimoji="0" 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entiment</a:t>
                    </a:r>
                    <a:endParaRPr kumimoji="0" lang="en-US" sz="6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6" name="组合 35">
                  <a:extLst>
                    <a:ext uri="{FF2B5EF4-FFF2-40B4-BE49-F238E27FC236}">
                      <a16:creationId xmlns:a16="http://schemas.microsoft.com/office/drawing/2014/main" id="{569D00D8-07E7-8262-2067-85FD0F2BE4EF}"/>
                    </a:ext>
                  </a:extLst>
                </p:cNvPr>
                <p:cNvGrpSpPr/>
                <p:nvPr/>
              </p:nvGrpSpPr>
              <p:grpSpPr>
                <a:xfrm>
                  <a:off x="9090866" y="1629743"/>
                  <a:ext cx="2509288" cy="2473249"/>
                  <a:chOff x="9090866" y="1629743"/>
                  <a:chExt cx="2509288" cy="2473249"/>
                </a:xfrm>
              </p:grpSpPr>
              <p:sp>
                <p:nvSpPr>
                  <p:cNvPr id="43" name="任意多边形: 形状 42">
                    <a:extLst>
                      <a:ext uri="{FF2B5EF4-FFF2-40B4-BE49-F238E27FC236}">
                        <a16:creationId xmlns:a16="http://schemas.microsoft.com/office/drawing/2014/main" id="{DD5E2252-3675-8E19-555E-5E50163510D0}"/>
                      </a:ext>
                    </a:extLst>
                  </p:cNvPr>
                  <p:cNvSpPr/>
                  <p:nvPr/>
                </p:nvSpPr>
                <p:spPr bwMode="auto">
                  <a:xfrm rot="3202081">
                    <a:off x="9108885" y="1611724"/>
                    <a:ext cx="2473249" cy="2509288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BA9873">
                          <a:lumMod val="60000"/>
                          <a:lumOff val="40000"/>
                        </a:srgbClr>
                      </a:gs>
                      <a:gs pos="75000">
                        <a:srgbClr val="BA9873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BA9873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4" name="文本框 43">
                    <a:extLst>
                      <a:ext uri="{FF2B5EF4-FFF2-40B4-BE49-F238E27FC236}">
                        <a16:creationId xmlns:a16="http://schemas.microsoft.com/office/drawing/2014/main" id="{08C6B20D-B733-DB1F-61B0-3A1FE638123C}"/>
                      </a:ext>
                    </a:extLst>
                  </p:cNvPr>
                  <p:cNvSpPr txBox="1"/>
                  <p:nvPr/>
                </p:nvSpPr>
                <p:spPr>
                  <a:xfrm>
                    <a:off x="10116080" y="2351003"/>
                    <a:ext cx="910827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T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echnical</a:t>
                    </a: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7" name="组合 36">
                  <a:extLst>
                    <a:ext uri="{FF2B5EF4-FFF2-40B4-BE49-F238E27FC236}">
                      <a16:creationId xmlns:a16="http://schemas.microsoft.com/office/drawing/2014/main" id="{E6BE56F9-CB06-F028-4C2E-0E00E04C78F2}"/>
                    </a:ext>
                  </a:extLst>
                </p:cNvPr>
                <p:cNvGrpSpPr/>
                <p:nvPr/>
              </p:nvGrpSpPr>
              <p:grpSpPr>
                <a:xfrm>
                  <a:off x="8520044" y="3360226"/>
                  <a:ext cx="2473570" cy="2508962"/>
                  <a:chOff x="8520044" y="3360226"/>
                  <a:chExt cx="2473570" cy="2508962"/>
                </a:xfrm>
              </p:grpSpPr>
              <p:sp>
                <p:nvSpPr>
                  <p:cNvPr id="41" name="任意多边形: 形状 40">
                    <a:extLst>
                      <a:ext uri="{FF2B5EF4-FFF2-40B4-BE49-F238E27FC236}">
                        <a16:creationId xmlns:a16="http://schemas.microsoft.com/office/drawing/2014/main" id="{0E5CA2F5-F78B-5A69-214B-62AE8410A120}"/>
                      </a:ext>
                    </a:extLst>
                  </p:cNvPr>
                  <p:cNvSpPr/>
                  <p:nvPr/>
                </p:nvSpPr>
                <p:spPr bwMode="auto">
                  <a:xfrm rot="8579122">
                    <a:off x="8520044" y="3360226"/>
                    <a:ext cx="2473570" cy="2508962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C8C8C8">
                          <a:lumMod val="60000"/>
                          <a:lumOff val="40000"/>
                        </a:srgbClr>
                      </a:gs>
                      <a:gs pos="75000">
                        <a:srgbClr val="C8C8C8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C8C8C8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2" name="文本框 41">
                    <a:extLst>
                      <a:ext uri="{FF2B5EF4-FFF2-40B4-BE49-F238E27FC236}">
                        <a16:creationId xmlns:a16="http://schemas.microsoft.com/office/drawing/2014/main" id="{92BA72D0-7BD4-3DEA-4DE5-151863C0A7FB}"/>
                      </a:ext>
                    </a:extLst>
                  </p:cNvPr>
                  <p:cNvSpPr txBox="1"/>
                  <p:nvPr/>
                </p:nvSpPr>
                <p:spPr>
                  <a:xfrm>
                    <a:off x="9365536" y="4106875"/>
                    <a:ext cx="782586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V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 aluation</a:t>
                    </a: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8" name="组合 37">
                  <a:extLst>
                    <a:ext uri="{FF2B5EF4-FFF2-40B4-BE49-F238E27FC236}">
                      <a16:creationId xmlns:a16="http://schemas.microsoft.com/office/drawing/2014/main" id="{A952D8A5-F73A-AF11-1EF0-10240D3AAA06}"/>
                    </a:ext>
                  </a:extLst>
                </p:cNvPr>
                <p:cNvGrpSpPr/>
                <p:nvPr/>
              </p:nvGrpSpPr>
              <p:grpSpPr>
                <a:xfrm>
                  <a:off x="6757354" y="2805757"/>
                  <a:ext cx="2509288" cy="2473248"/>
                  <a:chOff x="6757354" y="2805757"/>
                  <a:chExt cx="2509288" cy="2473248"/>
                </a:xfrm>
              </p:grpSpPr>
              <p:sp>
                <p:nvSpPr>
                  <p:cNvPr id="39" name="任意多边形: 形状 38">
                    <a:extLst>
                      <a:ext uri="{FF2B5EF4-FFF2-40B4-BE49-F238E27FC236}">
                        <a16:creationId xmlns:a16="http://schemas.microsoft.com/office/drawing/2014/main" id="{AEBFC19B-5CF8-82AF-BD07-D05D728C307A}"/>
                      </a:ext>
                    </a:extLst>
                  </p:cNvPr>
                  <p:cNvSpPr/>
                  <p:nvPr/>
                </p:nvSpPr>
                <p:spPr bwMode="auto">
                  <a:xfrm rot="13978264">
                    <a:off x="6775374" y="2787737"/>
                    <a:ext cx="2473248" cy="2509288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8E1515">
                          <a:lumMod val="60000"/>
                          <a:lumOff val="40000"/>
                        </a:srgbClr>
                      </a:gs>
                      <a:gs pos="75000">
                        <a:srgbClr val="8E1515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8E1515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0" name="文本框 39">
                    <a:extLst>
                      <a:ext uri="{FF2B5EF4-FFF2-40B4-BE49-F238E27FC236}">
                        <a16:creationId xmlns:a16="http://schemas.microsoft.com/office/drawing/2014/main" id="{94309ECB-1CB8-905E-448C-D897B400304D}"/>
                      </a:ext>
                    </a:extLst>
                  </p:cNvPr>
                  <p:cNvSpPr txBox="1"/>
                  <p:nvPr/>
                </p:nvSpPr>
                <p:spPr>
                  <a:xfrm>
                    <a:off x="7596596" y="3525309"/>
                    <a:ext cx="654344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L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iquidity</a:t>
                    </a:r>
                    <a:endParaRPr kumimoji="0" lang="en-US" sz="6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</p:grpSp>
        </p:grp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8A7E93B8-78D9-C271-E5DA-FF63BF862E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546" y="1162024"/>
              <a:ext cx="10858500" cy="65758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tabLst/>
                <a:defRPr/>
              </a:pPr>
              <a:endPara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ndara" panose="020E0502030303020204" pitchFamily="34" charset="0"/>
                <a:ea typeface="华文楷体" panose="0201060004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0516099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41DE5-6494-4C4E-109D-DB79C738E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4B8FF25-A45B-67B6-4C1E-F0F03838E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DD30B0F5-574A-1F99-AFAC-B94C4BFA2A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60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日均线上方个股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3E52FA0F-87A6-4C33-1AF4-7C8A26C4A30C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强势股占比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8.28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中性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58AF84B-F2F0-4823-A840-12FD56DDDD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47880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1CDC2-AE48-6F6C-5B4E-1F6A6E0A8C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606AF32-45F5-D101-D16A-D7290C40E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4CA4576A-5905-4687-C91A-71515F895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涨停数量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65916EFC-30ED-40B5-DD9B-EA720CEBEC9B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涨停数量占比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12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中性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37049D3-E067-2316-36D0-12FF1C9F93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0067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Office 主题​​">
  <a:themeElements>
    <a:clrScheme name="Office 主题​​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C3649"/>
      </a:accent1>
      <a:accent2>
        <a:srgbClr val="6A868F"/>
      </a:accent2>
      <a:accent3>
        <a:srgbClr val="31778D"/>
      </a:accent3>
      <a:accent4>
        <a:srgbClr val="D6C88B"/>
      </a:accent4>
      <a:accent5>
        <a:srgbClr val="D66E49"/>
      </a:accent5>
      <a:accent6>
        <a:srgbClr val="649EB2"/>
      </a:accent6>
      <a:hlink>
        <a:srgbClr val="0000FF"/>
      </a:hlink>
      <a:folHlink>
        <a:srgbClr val="FF00FF"/>
      </a:folHlink>
    </a:clrScheme>
    <a:fontScheme name="5ahktbec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2438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2438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White">
  <a:themeElements>
    <a:clrScheme name="Custom 2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C00000"/>
      </a:accent1>
      <a:accent2>
        <a:srgbClr val="6F2926"/>
      </a:accent2>
      <a:accent3>
        <a:srgbClr val="CF7875"/>
      </a:accent3>
      <a:accent4>
        <a:srgbClr val="E5B4B2"/>
      </a:accent4>
      <a:accent5>
        <a:srgbClr val="F4E1E0"/>
      </a:accent5>
      <a:accent6>
        <a:srgbClr val="FFD147"/>
      </a:accent6>
      <a:hlink>
        <a:srgbClr val="0000FF"/>
      </a:hlink>
      <a:folHlink>
        <a:srgbClr val="800080"/>
      </a:folHlink>
    </a:clrScheme>
    <a:fontScheme name="Custom 317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4A1B19"/>
        </a:accent1>
        <a:accent2>
          <a:srgbClr val="6F2926"/>
        </a:accent2>
        <a:accent3>
          <a:srgbClr val="CF7875"/>
        </a:accent3>
        <a:accent4>
          <a:srgbClr val="E5B4B2"/>
        </a:accent4>
        <a:accent5>
          <a:srgbClr val="F4E1E0"/>
        </a:accent5>
        <a:accent6>
          <a:srgbClr val="FFD14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carlett Lin.potx" id="{DA3DAAC1-59D6-498E-AA2D-BAFB318DA648}" vid="{144B9AF7-3219-45B9-B3E1-112F2C81400F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04098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自定义 1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04098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长江宏观">
    <a:dk1>
      <a:sysClr val="windowText" lastClr="000000"/>
    </a:dk1>
    <a:lt1>
      <a:sysClr val="window" lastClr="FFFFFF"/>
    </a:lt1>
    <a:dk2>
      <a:srgbClr val="004678"/>
    </a:dk2>
    <a:lt2>
      <a:srgbClr val="EEECE1"/>
    </a:lt2>
    <a:accent1>
      <a:srgbClr val="E10000"/>
    </a:accent1>
    <a:accent2>
      <a:srgbClr val="595959"/>
    </a:accent2>
    <a:accent3>
      <a:srgbClr val="DCB464"/>
    </a:accent3>
    <a:accent4>
      <a:srgbClr val="BFBFBF"/>
    </a:accent4>
    <a:accent5>
      <a:srgbClr val="FFC000"/>
    </a:accent5>
    <a:accent6>
      <a:srgbClr val="F3973E"/>
    </a:accent6>
    <a:hlink>
      <a:srgbClr val="CC9900"/>
    </a:hlink>
    <a:folHlink>
      <a:srgbClr val="7F7F7F"/>
    </a:folHlink>
  </a:clrScheme>
  <a:fontScheme name="长江宏观_PPT">
    <a:majorFont>
      <a:latin typeface="Arial"/>
      <a:ea typeface="Microsoft YaHei"/>
      <a:cs typeface=""/>
    </a:majorFont>
    <a:minorFont>
      <a:latin typeface="Arial"/>
      <a:ea typeface="Microsoft YaHe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102</TotalTime>
  <Words>676</Words>
  <Application>Microsoft Office PowerPoint</Application>
  <PresentationFormat>宽屏</PresentationFormat>
  <Paragraphs>84</Paragraphs>
  <Slides>15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7" baseType="lpstr">
      <vt:lpstr>微软雅黑</vt:lpstr>
      <vt:lpstr>微软雅黑</vt:lpstr>
      <vt:lpstr>楷体</vt:lpstr>
      <vt:lpstr>等线</vt:lpstr>
      <vt:lpstr>Arial</vt:lpstr>
      <vt:lpstr>Candara</vt:lpstr>
      <vt:lpstr>Georgia</vt:lpstr>
      <vt:lpstr>Segoe UI</vt:lpstr>
      <vt:lpstr>Wingdings</vt:lpstr>
      <vt:lpstr>1_Office 主题​​</vt:lpstr>
      <vt:lpstr>2_Whit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张 蓉蓉</dc:creator>
  <cp:lastModifiedBy>Haochen Ding</cp:lastModifiedBy>
  <cp:revision>606</cp:revision>
  <dcterms:created xsi:type="dcterms:W3CDTF">2024-11-25T11:58:13Z</dcterms:created>
  <dcterms:modified xsi:type="dcterms:W3CDTF">2025-11-17T02:36:57Z</dcterms:modified>
</cp:coreProperties>
</file>